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4" r:id="rId5"/>
    <p:sldMasterId id="2147483733" r:id="rId6"/>
  </p:sldMasterIdLst>
  <p:notesMasterIdLst>
    <p:notesMasterId r:id="rId28"/>
  </p:notesMasterIdLst>
  <p:sldIdLst>
    <p:sldId id="256" r:id="rId7"/>
    <p:sldId id="671" r:id="rId8"/>
    <p:sldId id="711" r:id="rId9"/>
    <p:sldId id="714" r:id="rId10"/>
    <p:sldId id="304" r:id="rId11"/>
    <p:sldId id="673" r:id="rId12"/>
    <p:sldId id="710" r:id="rId13"/>
    <p:sldId id="336" r:id="rId14"/>
    <p:sldId id="704" r:id="rId15"/>
    <p:sldId id="705" r:id="rId16"/>
    <p:sldId id="707" r:id="rId17"/>
    <p:sldId id="696" r:id="rId18"/>
    <p:sldId id="665" r:id="rId19"/>
    <p:sldId id="699" r:id="rId20"/>
    <p:sldId id="689" r:id="rId21"/>
    <p:sldId id="687" r:id="rId22"/>
    <p:sldId id="715" r:id="rId23"/>
    <p:sldId id="681" r:id="rId24"/>
    <p:sldId id="326" r:id="rId25"/>
    <p:sldId id="266" r:id="rId26"/>
    <p:sldId id="259"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5689"/>
    <a:srgbClr val="BFBFBF"/>
    <a:srgbClr val="2F2F2F"/>
    <a:srgbClr val="163555"/>
    <a:srgbClr val="F2F2F2"/>
    <a:srgbClr val="3076BC"/>
    <a:srgbClr val="CFCFCF"/>
    <a:srgbClr val="262626"/>
    <a:srgbClr val="054F8C"/>
    <a:srgbClr val="1C45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2203" autoAdjust="0"/>
  </p:normalViewPr>
  <p:slideViewPr>
    <p:cSldViewPr snapToGrid="0">
      <p:cViewPr varScale="1">
        <p:scale>
          <a:sx n="85" d="100"/>
          <a:sy n="85" d="100"/>
        </p:scale>
        <p:origin x="1542" y="5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Barker" userId="51141472-efc7-4b0d-953d-f21b0863a1d6" providerId="ADAL" clId="{CFC370F6-F789-4457-88F6-1561A79EA6ED}"/>
    <pc:docChg chg="modSld">
      <pc:chgData name="Chris Barker" userId="51141472-efc7-4b0d-953d-f21b0863a1d6" providerId="ADAL" clId="{CFC370F6-F789-4457-88F6-1561A79EA6ED}" dt="2018-06-06T20:04:46.380" v="7" actId="20577"/>
      <pc:docMkLst>
        <pc:docMk/>
      </pc:docMkLst>
      <pc:sldChg chg="modNotesTx">
        <pc:chgData name="Chris Barker" userId="51141472-efc7-4b0d-953d-f21b0863a1d6" providerId="ADAL" clId="{CFC370F6-F789-4457-88F6-1561A79EA6ED}" dt="2018-06-06T20:04:46.380" v="7" actId="20577"/>
        <pc:sldMkLst>
          <pc:docMk/>
          <pc:sldMk cId="472508337" sldId="256"/>
        </pc:sldMkLst>
      </pc:sldChg>
    </pc:docChg>
  </pc:docChgLst>
  <pc:docChgLst>
    <pc:chgData name="Jaime Rodriguez" userId="11817222-1ccb-4d0c-89bf-a931fa3cfbfa" providerId="ADAL" clId="{5020C542-1E2B-41B1-ABCA-4A58DDA8E154}"/>
    <pc:docChg chg="undo addSld delSld modSld">
      <pc:chgData name="Jaime Rodriguez" userId="11817222-1ccb-4d0c-89bf-a931fa3cfbfa" providerId="ADAL" clId="{5020C542-1E2B-41B1-ABCA-4A58DDA8E154}" dt="2018-06-02T18:20:38.405" v="26" actId="2696"/>
      <pc:docMkLst>
        <pc:docMk/>
      </pc:docMkLst>
      <pc:sldChg chg="addSp delSp modSp">
        <pc:chgData name="Jaime Rodriguez" userId="11817222-1ccb-4d0c-89bf-a931fa3cfbfa" providerId="ADAL" clId="{5020C542-1E2B-41B1-ABCA-4A58DDA8E154}" dt="2018-06-02T18:18:55.009" v="23" actId="1076"/>
        <pc:sldMkLst>
          <pc:docMk/>
          <pc:sldMk cId="4147613163" sldId="336"/>
        </pc:sldMkLst>
        <pc:spChg chg="mod">
          <ac:chgData name="Jaime Rodriguez" userId="11817222-1ccb-4d0c-89bf-a931fa3cfbfa" providerId="ADAL" clId="{5020C542-1E2B-41B1-ABCA-4A58DDA8E154}" dt="2018-06-02T18:17:28.175" v="17" actId="1076"/>
          <ac:spMkLst>
            <pc:docMk/>
            <pc:sldMk cId="4147613163" sldId="336"/>
            <ac:spMk id="4" creationId="{00000000-0000-0000-0000-000000000000}"/>
          </ac:spMkLst>
        </pc:spChg>
        <pc:spChg chg="mod">
          <ac:chgData name="Jaime Rodriguez" userId="11817222-1ccb-4d0c-89bf-a931fa3cfbfa" providerId="ADAL" clId="{5020C542-1E2B-41B1-ABCA-4A58DDA8E154}" dt="2018-06-02T18:18:55.009" v="23" actId="1076"/>
          <ac:spMkLst>
            <pc:docMk/>
            <pc:sldMk cId="4147613163" sldId="336"/>
            <ac:spMk id="5" creationId="{00000000-0000-0000-0000-000000000000}"/>
          </ac:spMkLst>
        </pc:spChg>
        <pc:spChg chg="mod">
          <ac:chgData name="Jaime Rodriguez" userId="11817222-1ccb-4d0c-89bf-a931fa3cfbfa" providerId="ADAL" clId="{5020C542-1E2B-41B1-ABCA-4A58DDA8E154}" dt="2018-06-02T18:16:23.881" v="5" actId="1076"/>
          <ac:spMkLst>
            <pc:docMk/>
            <pc:sldMk cId="4147613163" sldId="336"/>
            <ac:spMk id="6" creationId="{00000000-0000-0000-0000-000000000000}"/>
          </ac:spMkLst>
        </pc:spChg>
        <pc:spChg chg="del">
          <ac:chgData name="Jaime Rodriguez" userId="11817222-1ccb-4d0c-89bf-a931fa3cfbfa" providerId="ADAL" clId="{5020C542-1E2B-41B1-ABCA-4A58DDA8E154}" dt="2018-06-02T18:15:50.325" v="1" actId="1076"/>
          <ac:spMkLst>
            <pc:docMk/>
            <pc:sldMk cId="4147613163" sldId="336"/>
            <ac:spMk id="7" creationId="{00000000-0000-0000-0000-000000000000}"/>
          </ac:spMkLst>
        </pc:spChg>
        <pc:spChg chg="mod">
          <ac:chgData name="Jaime Rodriguez" userId="11817222-1ccb-4d0c-89bf-a931fa3cfbfa" providerId="ADAL" clId="{5020C542-1E2B-41B1-ABCA-4A58DDA8E154}" dt="2018-06-02T18:16:53.434" v="9" actId="1076"/>
          <ac:spMkLst>
            <pc:docMk/>
            <pc:sldMk cId="4147613163" sldId="336"/>
            <ac:spMk id="22" creationId="{85082664-89C6-4E00-A482-FE2BB99EF509}"/>
          </ac:spMkLst>
        </pc:spChg>
        <pc:spChg chg="mod">
          <ac:chgData name="Jaime Rodriguez" userId="11817222-1ccb-4d0c-89bf-a931fa3cfbfa" providerId="ADAL" clId="{5020C542-1E2B-41B1-ABCA-4A58DDA8E154}" dt="2018-06-02T18:17:28.175" v="17" actId="1076"/>
          <ac:spMkLst>
            <pc:docMk/>
            <pc:sldMk cId="4147613163" sldId="336"/>
            <ac:spMk id="25" creationId="{157AF77C-4F83-40E3-BD6E-74B9BF03AE0C}"/>
          </ac:spMkLst>
        </pc:spChg>
        <pc:spChg chg="mod">
          <ac:chgData name="Jaime Rodriguez" userId="11817222-1ccb-4d0c-89bf-a931fa3cfbfa" providerId="ADAL" clId="{5020C542-1E2B-41B1-ABCA-4A58DDA8E154}" dt="2018-06-02T18:18:55.009" v="23" actId="1076"/>
          <ac:spMkLst>
            <pc:docMk/>
            <pc:sldMk cId="4147613163" sldId="336"/>
            <ac:spMk id="26" creationId="{C1299C86-F784-4585-8FB0-A0EA33F0BA95}"/>
          </ac:spMkLst>
        </pc:spChg>
        <pc:spChg chg="add mod">
          <ac:chgData name="Jaime Rodriguez" userId="11817222-1ccb-4d0c-89bf-a931fa3cfbfa" providerId="ADAL" clId="{5020C542-1E2B-41B1-ABCA-4A58DDA8E154}" dt="2018-06-02T18:17:55.115" v="20" actId="1076"/>
          <ac:spMkLst>
            <pc:docMk/>
            <pc:sldMk cId="4147613163" sldId="336"/>
            <ac:spMk id="35" creationId="{5B9358B2-7E4E-4BD2-9411-73DF0339D8B7}"/>
          </ac:spMkLst>
        </pc:spChg>
        <pc:grpChg chg="mod topLvl">
          <ac:chgData name="Jaime Rodriguez" userId="11817222-1ccb-4d0c-89bf-a931fa3cfbfa" providerId="ADAL" clId="{5020C542-1E2B-41B1-ABCA-4A58DDA8E154}" dt="2018-06-02T18:17:49.890" v="19" actId="1076"/>
          <ac:grpSpMkLst>
            <pc:docMk/>
            <pc:sldMk cId="4147613163" sldId="336"/>
            <ac:grpSpMk id="28" creationId="{08C55AAD-13A9-409D-AEBC-C23B4DC3D068}"/>
          </ac:grpSpMkLst>
        </pc:grpChg>
        <pc:grpChg chg="mod topLvl">
          <ac:chgData name="Jaime Rodriguez" userId="11817222-1ccb-4d0c-89bf-a931fa3cfbfa" providerId="ADAL" clId="{5020C542-1E2B-41B1-ABCA-4A58DDA8E154}" dt="2018-06-02T18:16:06.408" v="3" actId="165"/>
          <ac:grpSpMkLst>
            <pc:docMk/>
            <pc:sldMk cId="4147613163" sldId="336"/>
            <ac:grpSpMk id="29" creationId="{7736570B-3CFA-4E73-B2FC-2E83593CB0E0}"/>
          </ac:grpSpMkLst>
        </pc:grpChg>
        <pc:grpChg chg="mod topLvl">
          <ac:chgData name="Jaime Rodriguez" userId="11817222-1ccb-4d0c-89bf-a931fa3cfbfa" providerId="ADAL" clId="{5020C542-1E2B-41B1-ABCA-4A58DDA8E154}" dt="2018-06-02T18:18:46.793" v="22" actId="1076"/>
          <ac:grpSpMkLst>
            <pc:docMk/>
            <pc:sldMk cId="4147613163" sldId="336"/>
            <ac:grpSpMk id="30" creationId="{3A402471-B0B3-41B1-AD61-EBF16E6150A4}"/>
          </ac:grpSpMkLst>
        </pc:grpChg>
        <pc:grpChg chg="mod topLvl">
          <ac:chgData name="Jaime Rodriguez" userId="11817222-1ccb-4d0c-89bf-a931fa3cfbfa" providerId="ADAL" clId="{5020C542-1E2B-41B1-ABCA-4A58DDA8E154}" dt="2018-06-02T18:16:06.408" v="3" actId="165"/>
          <ac:grpSpMkLst>
            <pc:docMk/>
            <pc:sldMk cId="4147613163" sldId="336"/>
            <ac:grpSpMk id="31" creationId="{EC7053B6-268D-41B2-BE1F-028C32274E13}"/>
          </ac:grpSpMkLst>
        </pc:grpChg>
        <pc:grpChg chg="del mod">
          <ac:chgData name="Jaime Rodriguez" userId="11817222-1ccb-4d0c-89bf-a931fa3cfbfa" providerId="ADAL" clId="{5020C542-1E2B-41B1-ABCA-4A58DDA8E154}" dt="2018-06-02T18:15:50.325" v="1" actId="1076"/>
          <ac:grpSpMkLst>
            <pc:docMk/>
            <pc:sldMk cId="4147613163" sldId="336"/>
            <ac:grpSpMk id="32" creationId="{ABE123F2-2803-4B0E-AC21-8B7257DCF0DD}"/>
          </ac:grpSpMkLst>
        </pc:grpChg>
        <pc:grpChg chg="mod">
          <ac:chgData name="Jaime Rodriguez" userId="11817222-1ccb-4d0c-89bf-a931fa3cfbfa" providerId="ADAL" clId="{5020C542-1E2B-41B1-ABCA-4A58DDA8E154}" dt="2018-06-02T18:18:38.832" v="21" actId="1076"/>
          <ac:grpSpMkLst>
            <pc:docMk/>
            <pc:sldMk cId="4147613163" sldId="336"/>
            <ac:grpSpMk id="36" creationId="{79DF81F5-F3EB-4E8F-8AD6-CC246E57AED3}"/>
          </ac:grpSpMkLst>
        </pc:grpChg>
        <pc:grpChg chg="del">
          <ac:chgData name="Jaime Rodriguez" userId="11817222-1ccb-4d0c-89bf-a931fa3cfbfa" providerId="ADAL" clId="{5020C542-1E2B-41B1-ABCA-4A58DDA8E154}" dt="2018-06-02T18:16:06.408" v="3" actId="165"/>
          <ac:grpSpMkLst>
            <pc:docMk/>
            <pc:sldMk cId="4147613163" sldId="336"/>
            <ac:grpSpMk id="37" creationId="{B3AF8484-355E-449B-A11B-38DBD4BD07BE}"/>
          </ac:grpSpMkLst>
        </pc:grpChg>
        <pc:picChg chg="mod">
          <ac:chgData name="Jaime Rodriguez" userId="11817222-1ccb-4d0c-89bf-a931fa3cfbfa" providerId="ADAL" clId="{5020C542-1E2B-41B1-ABCA-4A58DDA8E154}" dt="2018-06-02T18:17:28.175" v="17" actId="1076"/>
          <ac:picMkLst>
            <pc:docMk/>
            <pc:sldMk cId="4147613163" sldId="336"/>
            <ac:picMk id="8" creationId="{00000000-0000-0000-0000-000000000000}"/>
          </ac:picMkLst>
        </pc:picChg>
        <pc:picChg chg="mod">
          <ac:chgData name="Jaime Rodriguez" userId="11817222-1ccb-4d0c-89bf-a931fa3cfbfa" providerId="ADAL" clId="{5020C542-1E2B-41B1-ABCA-4A58DDA8E154}" dt="2018-06-02T18:18:55.009" v="23" actId="1076"/>
          <ac:picMkLst>
            <pc:docMk/>
            <pc:sldMk cId="4147613163" sldId="336"/>
            <ac:picMk id="9" creationId="{00000000-0000-0000-0000-000000000000}"/>
          </ac:picMkLst>
        </pc:picChg>
        <pc:picChg chg="del mod">
          <ac:chgData name="Jaime Rodriguez" userId="11817222-1ccb-4d0c-89bf-a931fa3cfbfa" providerId="ADAL" clId="{5020C542-1E2B-41B1-ABCA-4A58DDA8E154}" dt="2018-06-02T18:15:50.325" v="1" actId="1076"/>
          <ac:picMkLst>
            <pc:docMk/>
            <pc:sldMk cId="4147613163" sldId="336"/>
            <ac:picMk id="11" creationId="{00000000-0000-0000-0000-000000000000}"/>
          </ac:picMkLst>
        </pc:picChg>
        <pc:picChg chg="mod">
          <ac:chgData name="Jaime Rodriguez" userId="11817222-1ccb-4d0c-89bf-a931fa3cfbfa" providerId="ADAL" clId="{5020C542-1E2B-41B1-ABCA-4A58DDA8E154}" dt="2018-06-02T18:16:23.881" v="5" actId="1076"/>
          <ac:picMkLst>
            <pc:docMk/>
            <pc:sldMk cId="4147613163" sldId="336"/>
            <ac:picMk id="12" creationId="{00000000-0000-0000-0000-000000000000}"/>
          </ac:picMkLst>
        </pc:picChg>
        <pc:picChg chg="mod">
          <ac:chgData name="Jaime Rodriguez" userId="11817222-1ccb-4d0c-89bf-a931fa3cfbfa" providerId="ADAL" clId="{5020C542-1E2B-41B1-ABCA-4A58DDA8E154}" dt="2018-06-02T18:16:53.434" v="9" actId="1076"/>
          <ac:picMkLst>
            <pc:docMk/>
            <pc:sldMk cId="4147613163" sldId="336"/>
            <ac:picMk id="24" creationId="{91A253B5-F30E-4953-BBB3-B238EC644A0C}"/>
          </ac:picMkLst>
        </pc:picChg>
        <pc:picChg chg="add mod">
          <ac:chgData name="Jaime Rodriguez" userId="11817222-1ccb-4d0c-89bf-a931fa3cfbfa" providerId="ADAL" clId="{5020C542-1E2B-41B1-ABCA-4A58DDA8E154}" dt="2018-06-02T18:17:55.115" v="20" actId="1076"/>
          <ac:picMkLst>
            <pc:docMk/>
            <pc:sldMk cId="4147613163" sldId="336"/>
            <ac:picMk id="38" creationId="{E8F3BED8-249B-48D7-ACCD-8739C3649AF1}"/>
          </ac:picMkLst>
        </pc:picChg>
      </pc:sldChg>
      <pc:sldChg chg="modTransition">
        <pc:chgData name="Jaime Rodriguez" userId="11817222-1ccb-4d0c-89bf-a931fa3cfbfa" providerId="ADAL" clId="{5020C542-1E2B-41B1-ABCA-4A58DDA8E154}" dt="2018-05-28T04:52:12.568" v="0" actId="2696"/>
        <pc:sldMkLst>
          <pc:docMk/>
          <pc:sldMk cId="3784503311" sldId="681"/>
        </pc:sldMkLst>
      </pc:sldChg>
      <pc:sldChg chg="modSp add">
        <pc:chgData name="Jaime Rodriguez" userId="11817222-1ccb-4d0c-89bf-a931fa3cfbfa" providerId="ADAL" clId="{5020C542-1E2B-41B1-ABCA-4A58DDA8E154}" dt="2018-06-02T18:20:11.088" v="25" actId="20577"/>
        <pc:sldMkLst>
          <pc:docMk/>
          <pc:sldMk cId="4074011443" sldId="715"/>
        </pc:sldMkLst>
        <pc:spChg chg="mod">
          <ac:chgData name="Jaime Rodriguez" userId="11817222-1ccb-4d0c-89bf-a931fa3cfbfa" providerId="ADAL" clId="{5020C542-1E2B-41B1-ABCA-4A58DDA8E154}" dt="2018-06-02T18:20:11.088" v="25" actId="20577"/>
          <ac:spMkLst>
            <pc:docMk/>
            <pc:sldMk cId="4074011443" sldId="715"/>
            <ac:spMk id="2" creationId="{00000000-0000-0000-0000-000000000000}"/>
          </ac:spMkLst>
        </pc:spChg>
      </pc:sldChg>
    </pc:docChg>
  </pc:docChgLst>
  <pc:docChgLst>
    <pc:chgData name="Eric Ahlstrom" userId="8fbf5066-74a6-4cc4-ae9b-e79ac89617c1" providerId="ADAL" clId="{084BA4A4-4BA8-4E9C-97C4-277A6CA27331}"/>
    <pc:docChg chg="modSld">
      <pc:chgData name="Eric Ahlstrom" userId="8fbf5066-74a6-4cc4-ae9b-e79ac89617c1" providerId="ADAL" clId="{084BA4A4-4BA8-4E9C-97C4-277A6CA27331}" dt="2018-05-29T19:23:18.307" v="5" actId="20577"/>
      <pc:docMkLst>
        <pc:docMk/>
      </pc:docMkLst>
      <pc:sldChg chg="modSp">
        <pc:chgData name="Eric Ahlstrom" userId="8fbf5066-74a6-4cc4-ae9b-e79ac89617c1" providerId="ADAL" clId="{084BA4A4-4BA8-4E9C-97C4-277A6CA27331}" dt="2018-05-29T19:23:18.307" v="5" actId="20577"/>
        <pc:sldMkLst>
          <pc:docMk/>
          <pc:sldMk cId="1051609572" sldId="266"/>
        </pc:sldMkLst>
        <pc:spChg chg="mod">
          <ac:chgData name="Eric Ahlstrom" userId="8fbf5066-74a6-4cc4-ae9b-e79ac89617c1" providerId="ADAL" clId="{084BA4A4-4BA8-4E9C-97C4-277A6CA27331}" dt="2018-05-29T19:23:18.307" v="5" actId="20577"/>
          <ac:spMkLst>
            <pc:docMk/>
            <pc:sldMk cId="1051609572" sldId="266"/>
            <ac:spMk id="4" creationId="{0D02070F-BA65-4753-AA11-E2E7BC2AB26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C4A3684-2192-4647-846F-5DD121DCD8C0}" type="datetimeFigureOut">
              <a:rPr lang="en-US" smtClean="0"/>
              <a:t>7/13/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22875B9-ED09-4137-9A29-D47AB6AF8F79}" type="slidenum">
              <a:rPr lang="en-US" smtClean="0"/>
              <a:t>‹#›</a:t>
            </a:fld>
            <a:endParaRPr lang="en-US"/>
          </a:p>
        </p:txBody>
      </p:sp>
    </p:spTree>
    <p:extLst>
      <p:ext uri="{BB962C8B-B14F-4D97-AF65-F5344CB8AC3E}">
        <p14:creationId xmlns:p14="http://schemas.microsoft.com/office/powerpoint/2010/main" val="2488179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icrosoft.com/en-us/windows/mixed-reality/curso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eveloper.microsoft.com/en-us/windows/mixed-reality/voice_input"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eveloper.microsoft.com/en-us/windows/mixed-reality/spatial_mapping"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microsoft.com/en-us/hololens/commercial-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eveloper.microsoft.com/en-us/windows/mixed-reality/voice_inpu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eveloper.microsoft.com/en-us/windows/mixed-reality/spatial_mapping"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eveloper.microsoft.com/en-us/windows/mixed-reality/hologram"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eveloper.microsoft.com/en-us/windows/mixed-reality/coordinate_systems" TargetMode="External"/><Relationship Id="rId5" Type="http://schemas.openxmlformats.org/officeDocument/2006/relationships/hyperlink" Target="https://developer.microsoft.com/en-us/windows/mixed-reality/gestures" TargetMode="External"/><Relationship Id="rId4" Type="http://schemas.openxmlformats.org/officeDocument/2006/relationships/hyperlink" Target="https://developer.microsoft.com/en-us/windows/mixed-reality/gaz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mn-lt"/>
                <a:ea typeface="+mn-ea"/>
                <a:cs typeface="+mn-cs"/>
              </a:rPr>
              <a:t>DEMOS: </a:t>
            </a:r>
            <a:r>
              <a:rPr lang="en-US" sz="1200" b="0" i="0" u="none" strike="noStrike" kern="1200">
                <a:solidFill>
                  <a:schemeClr val="tx1"/>
                </a:solidFill>
                <a:effectLst/>
                <a:latin typeface="+mn-lt"/>
                <a:ea typeface="+mn-ea"/>
                <a:cs typeface="+mn-cs"/>
              </a:rPr>
              <a:t>https://github.com/Microsoft/InsiderDevTour18-MR</a:t>
            </a:r>
            <a:endParaRPr lang="en-US" sz="1200" b="1" kern="1200">
              <a:solidFill>
                <a:schemeClr val="tx1"/>
              </a:solidFill>
              <a:effectLst/>
              <a:latin typeface="+mn-lt"/>
              <a:ea typeface="+mn-ea"/>
              <a:cs typeface="+mn-cs"/>
            </a:endParaRPr>
          </a:p>
          <a:p>
            <a:endParaRPr lang="en-US" b="1"/>
          </a:p>
          <a:p>
            <a:r>
              <a:rPr lang="en-US" b="1"/>
              <a:t>SETUP / AWARENESS</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e sure to test video out and audio with the final settings as some AV systems have issues displaying this type of content</a:t>
            </a:r>
          </a:p>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1</a:t>
            </a:fld>
            <a:endParaRPr lang="en-US"/>
          </a:p>
        </p:txBody>
      </p:sp>
    </p:spTree>
    <p:extLst>
      <p:ext uri="{BB962C8B-B14F-4D97-AF65-F5344CB8AC3E}">
        <p14:creationId xmlns:p14="http://schemas.microsoft.com/office/powerpoint/2010/main" val="1075881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wo different types of space types across VR apps:  </a:t>
            </a:r>
            <a:br>
              <a:rPr lang="en-US"/>
            </a:br>
            <a:br>
              <a:rPr lang="en-US"/>
            </a:br>
            <a:r>
              <a:rPr lang="en-US" err="1"/>
              <a:t>Roomscale</a:t>
            </a:r>
            <a:r>
              <a:rPr lang="en-US"/>
              <a:t> or Stationary.. </a:t>
            </a:r>
          </a:p>
          <a:p>
            <a:r>
              <a:rPr lang="en-US"/>
              <a:t>On </a:t>
            </a:r>
            <a:r>
              <a:rPr lang="en-US" err="1"/>
              <a:t>roomscale</a:t>
            </a:r>
            <a:r>
              <a:rPr lang="en-US"/>
              <a:t>, the origin is the center of the room, and you can’t change that or </a:t>
            </a:r>
            <a:r>
              <a:rPr lang="en-US" err="1"/>
              <a:t>Recenter</a:t>
            </a:r>
            <a:r>
              <a:rPr lang="en-US"/>
              <a:t> the scene. </a:t>
            </a:r>
          </a:p>
          <a:p>
            <a:r>
              <a:rPr lang="en-US"/>
              <a:t>With stationary (also known as seated), the origin is the place that the headset is at, when the user last </a:t>
            </a:r>
            <a:r>
              <a:rPr lang="en-US" err="1"/>
              <a:t>Recentered</a:t>
            </a:r>
            <a:r>
              <a:rPr lang="en-US"/>
              <a:t> (or when scene is launched since that is first </a:t>
            </a:r>
            <a:r>
              <a:rPr lang="en-US" err="1"/>
              <a:t>recenter</a:t>
            </a:r>
            <a:r>
              <a:rPr lang="en-US"/>
              <a:t>).. </a:t>
            </a:r>
          </a:p>
          <a:p>
            <a:endParaRPr lang="en-US"/>
          </a:p>
          <a:p>
            <a:r>
              <a:rPr lang="en-US"/>
              <a:t>So, with stationary.. 0,0,0 is right here, at my eye level..  Where in the physical world, even if I was standing on the center of the room, my Y would be 1.5 meters or so.. </a:t>
            </a:r>
          </a:p>
          <a:p>
            <a:r>
              <a:rPr lang="en-US"/>
              <a:t>There fore there is an extension to stationary, we refer to as standing..  In this setup,  you use stationary but offset your floor.. </a:t>
            </a:r>
          </a:p>
        </p:txBody>
      </p:sp>
      <p:sp>
        <p:nvSpPr>
          <p:cNvPr id="4" name="Slide Number Placeholder 3"/>
          <p:cNvSpPr>
            <a:spLocks noGrp="1"/>
          </p:cNvSpPr>
          <p:nvPr>
            <p:ph type="sldNum" sz="quarter" idx="10"/>
          </p:nvPr>
        </p:nvSpPr>
        <p:spPr/>
        <p:txBody>
          <a:bodyPr/>
          <a:lstStyle/>
          <a:p>
            <a:fld id="{422875B9-ED09-4137-9A29-D47AB6AF8F79}" type="slidenum">
              <a:rPr lang="en-US" smtClean="0"/>
              <a:t>10</a:t>
            </a:fld>
            <a:endParaRPr lang="en-US"/>
          </a:p>
        </p:txBody>
      </p:sp>
    </p:spTree>
    <p:extLst>
      <p:ext uri="{BB962C8B-B14F-4D97-AF65-F5344CB8AC3E}">
        <p14:creationId xmlns:p14="http://schemas.microsoft.com/office/powerpoint/2010/main" val="86765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at we know how to setup our space, lets create our virtual room and setup our project to target Windows Mixed Reality. </a:t>
            </a:r>
          </a:p>
          <a:p>
            <a:endParaRPr lang="en-US"/>
          </a:p>
          <a:p>
            <a:r>
              <a:rPr lang="en-US"/>
              <a:t>See detailed click through notes:</a:t>
            </a:r>
          </a:p>
          <a:p>
            <a:endParaRPr lang="en-US"/>
          </a:p>
          <a:p>
            <a:pPr marL="174708" indent="-174708">
              <a:buFontTx/>
              <a:buChar char="-"/>
            </a:pPr>
            <a:r>
              <a:rPr lang="en-US"/>
              <a:t>Create empty Unity project </a:t>
            </a:r>
          </a:p>
          <a:p>
            <a:pPr marL="174708" indent="-174708">
              <a:buFontTx/>
              <a:buChar char="-"/>
            </a:pPr>
            <a:r>
              <a:rPr lang="en-US"/>
              <a:t>Drag a Prefab object into the scene. </a:t>
            </a:r>
          </a:p>
          <a:p>
            <a:pPr marL="174708" indent="-174708">
              <a:buFontTx/>
              <a:buChar char="-"/>
            </a:pPr>
            <a:r>
              <a:rPr lang="en-US"/>
              <a:t>Reset the camera. </a:t>
            </a:r>
          </a:p>
          <a:p>
            <a:pPr marL="174708" indent="-174708">
              <a:buFontTx/>
              <a:buChar char="-"/>
            </a:pPr>
            <a:r>
              <a:rPr lang="en-US"/>
              <a:t>Export to Mixed Reality. </a:t>
            </a:r>
          </a:p>
          <a:p>
            <a:pPr marL="174708" indent="-174708">
              <a:buFontTx/>
              <a:buChar char="-"/>
            </a:pPr>
            <a:r>
              <a:rPr lang="en-US"/>
              <a:t>Explain Generated Visual Studio solution. Have one pre-built.   </a:t>
            </a:r>
          </a:p>
          <a:p>
            <a:pPr marL="174708" indent="-174708">
              <a:buFontTx/>
              <a:buChar char="-"/>
            </a:pPr>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11</a:t>
            </a:fld>
            <a:endParaRPr lang="en-US"/>
          </a:p>
        </p:txBody>
      </p:sp>
    </p:spTree>
    <p:extLst>
      <p:ext uri="{BB962C8B-B14F-4D97-AF65-F5344CB8AC3E}">
        <p14:creationId xmlns:p14="http://schemas.microsoft.com/office/powerpoint/2010/main" val="3822255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In the real world, you'll typically look at an object that you intend to interact with.  </a:t>
            </a:r>
          </a:p>
          <a:p>
            <a:r>
              <a:rPr lang="en-US" dirty="0">
                <a:latin typeface="Segoe UI" panose="020B0502040204020203" pitchFamily="34" charset="0"/>
              </a:rPr>
              <a:t>Mixed Reality headsets use the position and orientation of your user's head, </a:t>
            </a:r>
            <a:r>
              <a:rPr lang="en-US" u="sng" dirty="0">
                <a:latin typeface="Segoe UI" panose="020B0502040204020203" pitchFamily="34" charset="0"/>
              </a:rPr>
              <a:t>not their eyes</a:t>
            </a:r>
            <a:r>
              <a:rPr lang="en-US" dirty="0">
                <a:latin typeface="Segoe UI" panose="020B0502040204020203" pitchFamily="34" charset="0"/>
              </a:rPr>
              <a:t>, to determine their gaze vector. You can think of this gaze vector as a laser pointer straight ahead from directly between the user's eyes. As the user looks around the room, your application can intersect this ray, both with virtual objects or real-world objects (discovered via Spatial Mapping) . </a:t>
            </a:r>
          </a:p>
          <a:p>
            <a:endParaRPr lang="en-US" dirty="0">
              <a:latin typeface="Segoe UI" panose="020B0502040204020203" pitchFamily="34" charset="0"/>
            </a:endParaRPr>
          </a:p>
          <a:p>
            <a:r>
              <a:rPr lang="en-US" dirty="0">
                <a:latin typeface="Segoe UI" panose="020B0502040204020203" pitchFamily="34" charset="0"/>
              </a:rPr>
              <a:t>If you will use Gaze, you should have a </a:t>
            </a:r>
            <a:r>
              <a:rPr lang="en-US" u="sng" dirty="0">
                <a:latin typeface="Segoe UI" panose="020B0502040204020203" pitchFamily="34" charset="0"/>
                <a:hlinkClick r:id="rId3"/>
              </a:rPr>
              <a:t>cursor</a:t>
            </a:r>
            <a:r>
              <a:rPr lang="en-US" dirty="0">
                <a:latin typeface="Segoe UI" panose="020B0502040204020203" pitchFamily="34" charset="0"/>
              </a:rPr>
              <a:t> (or other auditory/visual indication) to give the user confidence in what they're about to interact with. You typically position this cursor in the world where their gaze ray first interacts an object, which may be a hologram or a real-world surface.</a:t>
            </a:r>
          </a:p>
          <a:p>
            <a:endParaRPr lang="en-US" dirty="0">
              <a:latin typeface="Segoe UI" panose="020B0502040204020203" pitchFamily="34" charset="0"/>
            </a:endParaRPr>
          </a:p>
          <a:p>
            <a:r>
              <a:rPr lang="en-US" dirty="0">
                <a:latin typeface="Segoe UI" panose="020B0502040204020203" pitchFamily="34" charset="0"/>
              </a:rPr>
              <a:t>With that, let’s go ahead and add gaze and a cursor to our app.</a:t>
            </a:r>
          </a:p>
          <a:p>
            <a:endParaRPr lang="en-US" dirty="0"/>
          </a:p>
          <a:p>
            <a:r>
              <a:rPr lang="en-US" dirty="0"/>
              <a:t>==</a:t>
            </a:r>
          </a:p>
          <a:p>
            <a:pPr defTabSz="931774">
              <a:defRPr/>
            </a:pPr>
            <a:r>
              <a:rPr lang="en-US" b="1" u="sng" dirty="0">
                <a:latin typeface="Segoe UI" panose="020B0502040204020203" pitchFamily="34" charset="0"/>
              </a:rPr>
              <a:t>Pre-read for speaker: https://developer.microsoft.com/en-us/windows/mixed-reality/gaze</a:t>
            </a:r>
          </a:p>
          <a:p>
            <a:pPr defTabSz="931774">
              <a:defRPr/>
            </a:pPr>
            <a:endParaRPr lang="en-US" b="1" u="sng" dirty="0">
              <a:latin typeface="Segoe UI" panose="020B0502040204020203" pitchFamily="34" charset="0"/>
            </a:endParaRPr>
          </a:p>
          <a:p>
            <a:pPr defTabSz="931774">
              <a:defRPr/>
            </a:pPr>
            <a:endParaRPr lang="en-US" b="1" u="sng" dirty="0">
              <a:latin typeface="Segoe UI" panose="020B0502040204020203" pitchFamily="34" charset="0"/>
            </a:endParaRPr>
          </a:p>
          <a:p>
            <a:pPr defTabSz="931774">
              <a:defRPr/>
            </a:pPr>
            <a:r>
              <a:rPr lang="en-US" b="1" u="sng" dirty="0">
                <a:latin typeface="Segoe UI" panose="020B0502040204020203" pitchFamily="34" charset="0"/>
              </a:rPr>
              <a:t> </a:t>
            </a:r>
            <a:endParaRPr lang="en-US" dirty="0">
              <a:latin typeface="Segoe UI" panose="020B0502040204020203" pitchFamily="34" charset="0"/>
            </a:endParaRPr>
          </a:p>
          <a:p>
            <a:pPr defTabSz="931774">
              <a:defRPr/>
            </a:pP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FC68CCEB-9B74-4B06-A035-26CD3C1A745F}" type="slidenum">
              <a:rPr lang="en-US" smtClean="0"/>
              <a:pPr/>
              <a:t>12</a:t>
            </a:fld>
            <a:endParaRPr lang="en-US"/>
          </a:p>
        </p:txBody>
      </p:sp>
    </p:spTree>
    <p:extLst>
      <p:ext uri="{BB962C8B-B14F-4D97-AF65-F5344CB8AC3E}">
        <p14:creationId xmlns:p14="http://schemas.microsoft.com/office/powerpoint/2010/main" val="766825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e detailed click through notes:</a:t>
            </a:r>
          </a:p>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13</a:t>
            </a:fld>
            <a:endParaRPr lang="en-US"/>
          </a:p>
        </p:txBody>
      </p:sp>
    </p:spTree>
    <p:extLst>
      <p:ext uri="{BB962C8B-B14F-4D97-AF65-F5344CB8AC3E}">
        <p14:creationId xmlns:p14="http://schemas.microsoft.com/office/powerpoint/2010/main" val="828186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tion controllers allow us to take action in mixed reality.  </a:t>
            </a:r>
          </a:p>
          <a:p>
            <a:r>
              <a:rPr lang="en-US"/>
              <a:t>With controllers we can track the position of our hands in space, and we can get fine grained interaction with digital object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re is a lot of power behind motion controllers..  I can use a </a:t>
            </a:r>
            <a:r>
              <a:rPr lang="en-US" err="1"/>
              <a:t>thumbstick</a:t>
            </a:r>
            <a:r>
              <a:rPr lang="en-US"/>
              <a:t> to move forward, or to rotate say 30 degrees on any direction..  There is a lot of buttons that I can configure for different actions.. </a:t>
            </a:r>
          </a:p>
          <a:p>
            <a:endParaRPr lang="en-US"/>
          </a:p>
          <a:p>
            <a:r>
              <a:rPr lang="en-US"/>
              <a:t>===== </a:t>
            </a:r>
          </a:p>
          <a:p>
            <a:endParaRPr lang="en-US"/>
          </a:p>
        </p:txBody>
      </p:sp>
      <p:sp>
        <p:nvSpPr>
          <p:cNvPr id="4" name="Slide Number Placeholder 3"/>
          <p:cNvSpPr>
            <a:spLocks noGrp="1"/>
          </p:cNvSpPr>
          <p:nvPr>
            <p:ph type="sldNum" sz="quarter" idx="10"/>
          </p:nvPr>
        </p:nvSpPr>
        <p:spPr/>
        <p:txBody>
          <a:bodyPr/>
          <a:lstStyle/>
          <a:p>
            <a:fld id="{FC68CCEB-9B74-4B06-A035-26CD3C1A745F}" type="slidenum">
              <a:rPr lang="en-US" smtClean="0"/>
              <a:pPr/>
              <a:t>14</a:t>
            </a:fld>
            <a:endParaRPr lang="en-US"/>
          </a:p>
        </p:txBody>
      </p:sp>
    </p:spTree>
    <p:extLst>
      <p:ext uri="{BB962C8B-B14F-4D97-AF65-F5344CB8AC3E}">
        <p14:creationId xmlns:p14="http://schemas.microsoft.com/office/powerpoint/2010/main" val="3741811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andle motion controller input, you can use Unity’s generic Open VR input system..   </a:t>
            </a:r>
          </a:p>
          <a:p>
            <a:endParaRPr lang="en-US"/>
          </a:p>
          <a:p>
            <a:r>
              <a:rPr lang="en-US"/>
              <a:t>Or, when targeting Microsoft Mixed Reality experiences, you can use the new </a:t>
            </a:r>
            <a:r>
              <a:rPr lang="en-US" err="1"/>
              <a:t>UnityEngine.XR.WSA</a:t>
            </a:r>
            <a:r>
              <a:rPr lang="en-US"/>
              <a:t> APIs. </a:t>
            </a:r>
          </a:p>
          <a:p>
            <a:br>
              <a:rPr lang="en-US"/>
            </a:br>
            <a:r>
              <a:rPr lang="en-US"/>
              <a:t>These APIs are strong typed and have more level of detail than the </a:t>
            </a:r>
            <a:r>
              <a:rPr lang="en-US" err="1"/>
              <a:t>Openvr</a:t>
            </a:r>
            <a:r>
              <a:rPr lang="en-US"/>
              <a:t> APIs do.   Where they have more detail is because the UWP platform exposes two different poses for controllers.    </a:t>
            </a:r>
            <a:br>
              <a:rPr lang="en-US"/>
            </a:br>
            <a:br>
              <a:rPr lang="en-US"/>
            </a:br>
            <a:r>
              <a:rPr lang="en-US"/>
              <a:t>There is a pose for “Pointer” where the center is right here, where the pointer begins…   and there is a pose for “Grip” where the center is right here, where our hands grip the controller </a:t>
            </a:r>
            <a:br>
              <a:rPr lang="en-US"/>
            </a:br>
            <a:r>
              <a:rPr lang="en-US"/>
              <a:t>As you can imagine, the pointer pose is great for when you are pointing to an object..   Specially when you render the controller model and use that to point..  </a:t>
            </a:r>
          </a:p>
          <a:p>
            <a:endParaRPr lang="en-US"/>
          </a:p>
          <a:p>
            <a:r>
              <a:rPr lang="en-US"/>
              <a:t>The grip pose is best for when you are holding or throwing an object and you want your origin to be the grip where you hold the control.. </a:t>
            </a:r>
          </a:p>
          <a:p>
            <a:endParaRPr lang="en-US"/>
          </a:p>
          <a:p>
            <a:r>
              <a:rPr lang="en-US"/>
              <a:t>So, with that, lets go ahead and add motion controllers to our scene. </a:t>
            </a:r>
          </a:p>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15</a:t>
            </a:fld>
            <a:endParaRPr lang="en-US"/>
          </a:p>
        </p:txBody>
      </p:sp>
    </p:spTree>
    <p:extLst>
      <p:ext uri="{BB962C8B-B14F-4D97-AF65-F5344CB8AC3E}">
        <p14:creationId xmlns:p14="http://schemas.microsoft.com/office/powerpoint/2010/main" val="2561707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now add controllers to our scene.. </a:t>
            </a:r>
          </a:p>
        </p:txBody>
      </p:sp>
      <p:sp>
        <p:nvSpPr>
          <p:cNvPr id="4" name="Slide Number Placeholder 3"/>
          <p:cNvSpPr>
            <a:spLocks noGrp="1"/>
          </p:cNvSpPr>
          <p:nvPr>
            <p:ph type="sldNum" sz="quarter" idx="10"/>
          </p:nvPr>
        </p:nvSpPr>
        <p:spPr/>
        <p:txBody>
          <a:bodyPr/>
          <a:lstStyle/>
          <a:p>
            <a:fld id="{422875B9-ED09-4137-9A29-D47AB6AF8F79}" type="slidenum">
              <a:rPr lang="en-US" smtClean="0"/>
              <a:t>16</a:t>
            </a:fld>
            <a:endParaRPr lang="en-US"/>
          </a:p>
        </p:txBody>
      </p:sp>
    </p:spTree>
    <p:extLst>
      <p:ext uri="{BB962C8B-B14F-4D97-AF65-F5344CB8AC3E}">
        <p14:creationId xmlns:p14="http://schemas.microsoft.com/office/powerpoint/2010/main" val="385142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rPr>
              <a:t>To write any Mixed Reality apps there is a core set of building blocks at our disposal.  In this session we are going to cover these core building blocks. </a:t>
            </a:r>
            <a:br>
              <a:rPr lang="en-US">
                <a:latin typeface="Segoe UI" panose="020B0502040204020203" pitchFamily="34" charset="0"/>
              </a:rPr>
            </a:br>
            <a:endParaRPr lang="en-US">
              <a:latin typeface="Segoe UI" panose="020B0502040204020203" pitchFamily="34" charset="0"/>
            </a:endParaRPr>
          </a:p>
          <a:p>
            <a:endParaRPr lang="en-US">
              <a:latin typeface="Segoe UI" panose="020B0502040204020203" pitchFamily="34" charset="0"/>
            </a:endParaRPr>
          </a:p>
          <a:p>
            <a:r>
              <a:rPr lang="en-US">
                <a:latin typeface="Segoe UI" panose="020B0502040204020203" pitchFamily="34" charset="0"/>
              </a:rPr>
              <a:t>===extra context  for reference. Not for delivery ===</a:t>
            </a:r>
            <a:br>
              <a:rPr lang="en-US">
                <a:latin typeface="Segoe UI" panose="020B0502040204020203" pitchFamily="34" charset="0"/>
              </a:rPr>
            </a:br>
            <a:r>
              <a:rPr lang="en-US">
                <a:latin typeface="Segoe UI" panose="020B0502040204020203" pitchFamily="34" charset="0"/>
              </a:rPr>
              <a:t>You will need to know about 3d objects and world coordinates to interact with the space or for your immersive experience. </a:t>
            </a:r>
          </a:p>
          <a:p>
            <a:r>
              <a:rPr lang="en-US">
                <a:latin typeface="Segoe UI" panose="020B0502040204020203" pitchFamily="34" charset="0"/>
              </a:rPr>
              <a:t>We will select an input mechanic like gestures or controllers based on the device and type of experience you are creating. .</a:t>
            </a:r>
            <a:endParaRPr lang="en-US" u="sng">
              <a:latin typeface="Segoe UI" panose="020B0502040204020203" pitchFamily="34" charset="0"/>
            </a:endParaRPr>
          </a:p>
          <a:p>
            <a:pPr defTabSz="931774">
              <a:defRPr/>
            </a:pPr>
            <a:r>
              <a:rPr lang="en-US">
                <a:latin typeface="Segoe UI" panose="020B0502040204020203" pitchFamily="34" charset="0"/>
              </a:rPr>
              <a:t>On Windows experiences, you can also use </a:t>
            </a:r>
            <a:r>
              <a:rPr lang="en-US" u="sng">
                <a:latin typeface="Segoe UI" panose="020B0502040204020203" pitchFamily="34" charset="0"/>
                <a:hlinkClick r:id="rId3"/>
              </a:rPr>
              <a:t>Voice input</a:t>
            </a:r>
            <a:r>
              <a:rPr lang="en-US">
                <a:latin typeface="Segoe UI" panose="020B0502040204020203" pitchFamily="34" charset="0"/>
              </a:rPr>
              <a:t>. Windows emphasizes it a little more and it is more common. </a:t>
            </a:r>
          </a:p>
          <a:p>
            <a:pPr defTabSz="931774">
              <a:defRPr/>
            </a:pPr>
            <a:r>
              <a:rPr lang="en-US">
                <a:latin typeface="Segoe UI" panose="020B0502040204020203" pitchFamily="34" charset="0"/>
              </a:rPr>
              <a:t>On some devices like Hololens or iPhones running </a:t>
            </a:r>
            <a:r>
              <a:rPr lang="en-US" err="1">
                <a:latin typeface="Segoe UI" panose="020B0502040204020203" pitchFamily="34" charset="0"/>
              </a:rPr>
              <a:t>ARKit</a:t>
            </a:r>
            <a:r>
              <a:rPr lang="en-US">
                <a:latin typeface="Segoe UI" panose="020B0502040204020203" pitchFamily="34" charset="0"/>
              </a:rPr>
              <a:t>, you can also implement </a:t>
            </a:r>
            <a:r>
              <a:rPr lang="en-US" u="sng">
                <a:latin typeface="Segoe UI" panose="020B0502040204020203" pitchFamily="34" charset="0"/>
                <a:hlinkClick r:id="rId4"/>
              </a:rPr>
              <a:t>Spatial mapping</a:t>
            </a:r>
            <a:r>
              <a:rPr lang="en-US" u="sng">
                <a:latin typeface="Segoe UI" panose="020B0502040204020203" pitchFamily="34" charset="0"/>
              </a:rPr>
              <a:t> </a:t>
            </a:r>
            <a:r>
              <a:rPr lang="en-US">
                <a:latin typeface="Segoe UI" panose="020B0502040204020203" pitchFamily="34" charset="0"/>
              </a:rPr>
              <a:t>or spatial understanding.. To map the environment that you are in and interact with the shell. </a:t>
            </a:r>
          </a:p>
          <a:p>
            <a:endParaRPr lang="en-US">
              <a:latin typeface="Segoe UI" panose="020B0502040204020203" pitchFamily="34" charset="0"/>
            </a:endParaRPr>
          </a:p>
          <a:p>
            <a:r>
              <a:rPr lang="en-US">
                <a:latin typeface="Segoe UI" panose="020B0502040204020203" pitchFamily="34" charset="0"/>
              </a:rPr>
              <a:t> </a:t>
            </a:r>
          </a:p>
        </p:txBody>
      </p:sp>
      <p:sp>
        <p:nvSpPr>
          <p:cNvPr id="4" name="Slide Number Placeholder 3"/>
          <p:cNvSpPr>
            <a:spLocks noGrp="1"/>
          </p:cNvSpPr>
          <p:nvPr>
            <p:ph type="sldNum" sz="quarter" idx="10"/>
          </p:nvPr>
        </p:nvSpPr>
        <p:spPr/>
        <p:txBody>
          <a:bodyPr/>
          <a:lstStyle/>
          <a:p>
            <a:fld id="{FC68CCEB-9B74-4B06-A035-26CD3C1A745F}" type="slidenum">
              <a:rPr lang="en-US" smtClean="0"/>
              <a:pPr/>
              <a:t>17</a:t>
            </a:fld>
            <a:endParaRPr lang="en-US"/>
          </a:p>
        </p:txBody>
      </p:sp>
    </p:spTree>
    <p:extLst>
      <p:ext uri="{BB962C8B-B14F-4D97-AF65-F5344CB8AC3E}">
        <p14:creationId xmlns:p14="http://schemas.microsoft.com/office/powerpoint/2010/main" val="127686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18</a:t>
            </a:fld>
            <a:endParaRPr lang="en-US"/>
          </a:p>
        </p:txBody>
      </p:sp>
    </p:spTree>
    <p:extLst>
      <p:ext uri="{BB962C8B-B14F-4D97-AF65-F5344CB8AC3E}">
        <p14:creationId xmlns:p14="http://schemas.microsoft.com/office/powerpoint/2010/main" val="1697369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defTabSz="950464">
              <a:defRPr/>
            </a:pPr>
            <a:r>
              <a:rPr lang="en-US">
                <a:solidFill>
                  <a:prstClr val="black"/>
                </a:solidFill>
                <a:latin typeface="Segoe UI" pitchFamily="34" charset="0"/>
              </a:rPr>
              <a:t>Microsoft Inspire</a:t>
            </a: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latin typeface="Segoe UI" pitchFamily="34" charset="0"/>
              </a:rPr>
              <a:pPr defTabSz="950464">
                <a:defRPr/>
              </a:pPr>
              <a:t>7/13/2018 12:39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19</a:t>
            </a:fld>
            <a:endParaRPr lang="en-US">
              <a:solidFill>
                <a:prstClr val="black"/>
              </a:solidFill>
              <a:latin typeface="Segoe UI" pitchFamily="34" charset="0"/>
            </a:endParaRPr>
          </a:p>
        </p:txBody>
      </p:sp>
      <p:sp>
        <p:nvSpPr>
          <p:cNvPr id="3" name="Notes Placeholder 2">
            <a:extLst>
              <a:ext uri="{FF2B5EF4-FFF2-40B4-BE49-F238E27FC236}">
                <a16:creationId xmlns:a16="http://schemas.microsoft.com/office/drawing/2014/main" id="{5280171E-07FD-4FB9-BAE9-C3278B68CBA2}"/>
              </a:ext>
            </a:extLst>
          </p:cNvPr>
          <p:cNvSpPr>
            <a:spLocks noGrp="1"/>
          </p:cNvSpPr>
          <p:nvPr>
            <p:ph type="body" idx="1"/>
          </p:nvPr>
        </p:nvSpPr>
        <p:spPr/>
        <p:txBody>
          <a:bodyPr/>
          <a:lstStyle/>
          <a:p>
            <a:r>
              <a:rPr lang="en-US"/>
              <a:t>[NO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slide is more effective if you walk them through the webpage at  </a:t>
            </a:r>
            <a:r>
              <a:rPr lang="en-US">
                <a:hlinkClick r:id="rId3"/>
              </a:rPr>
              <a:t>https://www.microsoft.com/en-us/hololens/commercial-overview</a:t>
            </a:r>
            <a:r>
              <a:rPr lang="en-US"/>
              <a:t> </a:t>
            </a:r>
          </a:p>
          <a:p>
            <a:r>
              <a:rPr lang="en-US"/>
              <a: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e began today our session today discussing how MR is transforming industries so I want to invite you to the </a:t>
            </a:r>
            <a:r>
              <a:rPr lang="en-US" err="1"/>
              <a:t>hololens</a:t>
            </a:r>
            <a:r>
              <a:rPr lang="en-US"/>
              <a:t> case studies site, get some inspiration from industry leaders that are embracing mixed reality already.. </a:t>
            </a:r>
          </a:p>
          <a:p>
            <a:endParaRPr lang="en-US"/>
          </a:p>
        </p:txBody>
      </p:sp>
    </p:spTree>
    <p:extLst>
      <p:ext uri="{BB962C8B-B14F-4D97-AF65-F5344CB8AC3E}">
        <p14:creationId xmlns:p14="http://schemas.microsoft.com/office/powerpoint/2010/main" val="4059125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sonalize the opening..  </a:t>
            </a:r>
            <a:endParaRPr lang="en-US" dirty="0">
              <a:sym typeface="Wingdings" panose="05000000000000000000" pitchFamily="2" charset="2"/>
            </a:endParaRPr>
          </a:p>
          <a:p>
            <a:r>
              <a:rPr lang="en-US" b="1" dirty="0">
                <a:sym typeface="Wingdings" panose="05000000000000000000" pitchFamily="2" charset="2"/>
              </a:rPr>
              <a:t>Approach #1 </a:t>
            </a:r>
          </a:p>
          <a:p>
            <a:r>
              <a:rPr lang="en-US" b="0" dirty="0">
                <a:sym typeface="Wingdings" panose="05000000000000000000" pitchFamily="2" charset="2"/>
              </a:rPr>
              <a:t>We are now going to talk about Mixed Reality..   To me, this is a super fun and exciting session because I grew up dreaming of living in a world with mixed reality.. </a:t>
            </a:r>
          </a:p>
          <a:p>
            <a:r>
              <a:rPr lang="en-US" b="0" dirty="0">
                <a:sym typeface="Wingdings" panose="05000000000000000000" pitchFamily="2" charset="2"/>
              </a:rPr>
              <a:t>Watching movies like terminator with the Heads-up display.. Or minority report, with virtual, endless desktops that you could navigate with your gaze and your hands.. </a:t>
            </a:r>
          </a:p>
          <a:p>
            <a:r>
              <a:rPr lang="en-US" b="0" dirty="0">
                <a:sym typeface="Wingdings" panose="05000000000000000000" pitchFamily="2" charset="2"/>
              </a:rPr>
              <a:t>Those scenarios are now possible.   We are still early, we might not use them in every day life, but MR is already disrupting industries..  </a:t>
            </a:r>
            <a:br>
              <a:rPr lang="en-US" b="0" dirty="0">
                <a:sym typeface="Wingdings" panose="05000000000000000000" pitchFamily="2" charset="2"/>
              </a:rPr>
            </a:br>
            <a:endParaRPr lang="en-US" b="0" dirty="0">
              <a:sym typeface="Wingdings" panose="05000000000000000000" pitchFamily="2" charset="2"/>
            </a:endParaRPr>
          </a:p>
          <a:p>
            <a:r>
              <a:rPr lang="en-US" b="0" dirty="0">
                <a:sym typeface="Wingdings" panose="05000000000000000000" pitchFamily="2" charset="2"/>
              </a:rPr>
              <a:t>Click!  </a:t>
            </a:r>
            <a:endParaRPr lang="en-US" dirty="0"/>
          </a:p>
          <a:p>
            <a:br>
              <a:rPr lang="en-US" dirty="0"/>
            </a:br>
            <a:r>
              <a:rPr lang="en-US" b="1" dirty="0"/>
              <a:t>Examples: </a:t>
            </a:r>
          </a:p>
          <a:p>
            <a:r>
              <a:rPr lang="en-US" dirty="0"/>
              <a:t>Here is some examples of how you could be using Mixed Reality today: </a:t>
            </a:r>
            <a:br>
              <a:rPr lang="en-US" dirty="0"/>
            </a:br>
            <a:endParaRPr lang="en-US" dirty="0"/>
          </a:p>
          <a:p>
            <a:pPr marL="178027" indent="-178027">
              <a:buFont typeface="Arial" panose="020B0604020202020204" pitchFamily="34" charset="0"/>
              <a:buChar char="•"/>
            </a:pPr>
            <a:r>
              <a:rPr lang="en-US" dirty="0"/>
              <a:t>Creation and design – the ability to see and manipulate 3D designs in real time, in a real world setting, at true size and scale. </a:t>
            </a:r>
          </a:p>
          <a:p>
            <a:pPr marL="178027" indent="-178027">
              <a:buFont typeface="Arial" panose="020B0604020202020204" pitchFamily="34" charset="0"/>
              <a:buChar char="•"/>
            </a:pPr>
            <a:r>
              <a:rPr lang="en-US" dirty="0"/>
              <a:t>Assembly and manufacturing – the ability to synthesize complex data sets and provide visual displays that aid in navigation and operations. </a:t>
            </a:r>
          </a:p>
          <a:p>
            <a:pPr marL="178027" indent="-178027" defTabSz="949478">
              <a:buFont typeface="Arial" panose="020B0604020202020204" pitchFamily="34" charset="0"/>
              <a:buChar char="•"/>
              <a:defRPr/>
            </a:pPr>
            <a:r>
              <a:rPr lang="en-US" dirty="0"/>
              <a:t>Training and development – the ability to explain complex scenarios visually, with movement and in three dimensions.</a:t>
            </a:r>
          </a:p>
          <a:p>
            <a:pPr marL="178027" indent="-178027" defTabSz="949478">
              <a:buFont typeface="Arial" panose="020B0604020202020204" pitchFamily="34" charset="0"/>
              <a:buChar char="•"/>
              <a:defRPr/>
            </a:pPr>
            <a:r>
              <a:rPr lang="en-US" dirty="0"/>
              <a:t>Communication and understanding –  the ability to provide remote expert assistance. Seeing through the eyes of a remote user and provide annotations that appear as holographic content through HoloLens. </a:t>
            </a:r>
          </a:p>
          <a:p>
            <a:pPr marL="178027" indent="-178027">
              <a:buFont typeface="Arial" panose="020B0604020202020204" pitchFamily="34" charset="0"/>
              <a:buChar char="•"/>
            </a:pPr>
            <a:r>
              <a:rPr lang="en-US" dirty="0"/>
              <a:t>Entertainment and engagement – the ability to experience entertainment content in more personal and immersive ways.</a:t>
            </a:r>
            <a:endParaRPr lang="en-US" b="1" dirty="0">
              <a:solidFill>
                <a:schemeClr val="tx2"/>
              </a:solidFill>
              <a:latin typeface="Segoe UI Light" panose="020B0502040204020203" pitchFamily="34" charset="0"/>
              <a:cs typeface="Segoe UI Light" panose="020B0502040204020203" pitchFamily="34" charset="0"/>
            </a:endParaRPr>
          </a:p>
          <a:p>
            <a:pPr marL="174708" indent="-174708" defTabSz="949478">
              <a:buFont typeface="Arial" panose="020B0604020202020204" pitchFamily="34" charset="0"/>
              <a:buChar char="•"/>
              <a:defRPr/>
            </a:pPr>
            <a:endParaRPr lang="en-US" b="1" dirty="0">
              <a:solidFill>
                <a:schemeClr val="tx2"/>
              </a:solidFill>
              <a:latin typeface="Segoe UI Light" panose="020B0502040204020203" pitchFamily="34" charset="0"/>
              <a:cs typeface="Segoe UI Light" panose="020B0502040204020203" pitchFamily="34" charset="0"/>
            </a:endParaRPr>
          </a:p>
          <a:p>
            <a:pPr marL="174708" indent="-174708" defTabSz="949478">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pPr defTabSz="949478">
              <a:defRPr/>
            </a:pPr>
            <a:fld id="{142B36A6-BE97-485C-A818-BEDE6E26B8C9}" type="slidenum">
              <a:rPr lang="en-US">
                <a:solidFill>
                  <a:prstClr val="black"/>
                </a:solidFill>
                <a:latin typeface="Calibri" panose="020F0502020204030204"/>
              </a:rPr>
              <a:pPr defTabSz="949478">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806899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also want to invite you to do the hands-on lab.  </a:t>
            </a:r>
          </a:p>
          <a:p>
            <a:endParaRPr lang="en-US"/>
          </a:p>
          <a:p>
            <a:r>
              <a:rPr lang="en-US"/>
              <a:t>Everything you saw me do, you can practice on your own in a more interesting scenario, as an audio engineer identifying the best place to put speakers in a room.. </a:t>
            </a:r>
          </a:p>
          <a:p>
            <a:endParaRPr lang="en-US"/>
          </a:p>
          <a:p>
            <a:r>
              <a:rPr lang="en-US"/>
              <a:t>Remember, even if you don’t have a device, you can do these in the simulator. </a:t>
            </a:r>
          </a:p>
        </p:txBody>
      </p:sp>
      <p:sp>
        <p:nvSpPr>
          <p:cNvPr id="4" name="Slide Number Placeholder 3"/>
          <p:cNvSpPr>
            <a:spLocks noGrp="1"/>
          </p:cNvSpPr>
          <p:nvPr>
            <p:ph type="sldNum" sz="quarter" idx="10"/>
          </p:nvPr>
        </p:nvSpPr>
        <p:spPr/>
        <p:txBody>
          <a:bodyPr/>
          <a:lstStyle/>
          <a:p>
            <a:fld id="{422875B9-ED09-4137-9A29-D47AB6AF8F79}" type="slidenum">
              <a:rPr lang="en-US" smtClean="0"/>
              <a:t>20</a:t>
            </a:fld>
            <a:endParaRPr lang="en-US"/>
          </a:p>
        </p:txBody>
      </p:sp>
    </p:spTree>
    <p:extLst>
      <p:ext uri="{BB962C8B-B14F-4D97-AF65-F5344CB8AC3E}">
        <p14:creationId xmlns:p14="http://schemas.microsoft.com/office/powerpoint/2010/main" val="30031152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21</a:t>
            </a:fld>
            <a:endParaRPr lang="en-US"/>
          </a:p>
        </p:txBody>
      </p:sp>
    </p:spTree>
    <p:extLst>
      <p:ext uri="{BB962C8B-B14F-4D97-AF65-F5344CB8AC3E}">
        <p14:creationId xmlns:p14="http://schemas.microsoft.com/office/powerpoint/2010/main" val="1628166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dirty="0"/>
          </a:p>
          <a:p>
            <a:r>
              <a:rPr lang="en-US" dirty="0"/>
              <a:t>Last year, Microsoft took the award winning Inside Out tracking for </a:t>
            </a:r>
            <a:r>
              <a:rPr lang="en-US" dirty="0" err="1"/>
              <a:t>Hololens</a:t>
            </a:r>
            <a:r>
              <a:rPr lang="en-US" dirty="0"/>
              <a:t> and licensed it to OEMS, and now we have also occluded (or virtual reality headsets).   Let me show you a quick video that demos the kind of experiences you can create and the benefits of our headsets. </a:t>
            </a:r>
          </a:p>
        </p:txBody>
      </p:sp>
      <p:sp>
        <p:nvSpPr>
          <p:cNvPr id="4" name="Slide Number Placeholder 3"/>
          <p:cNvSpPr>
            <a:spLocks noGrp="1"/>
          </p:cNvSpPr>
          <p:nvPr>
            <p:ph type="sldNum" sz="quarter" idx="10"/>
          </p:nvPr>
        </p:nvSpPr>
        <p:spPr/>
        <p:txBody>
          <a:bodyPr/>
          <a:lstStyle/>
          <a:p>
            <a:fld id="{422875B9-ED09-4137-9A29-D47AB6AF8F79}" type="slidenum">
              <a:rPr lang="en-US" smtClean="0"/>
              <a:t>3</a:t>
            </a:fld>
            <a:endParaRPr lang="en-US"/>
          </a:p>
        </p:txBody>
      </p:sp>
    </p:spTree>
    <p:extLst>
      <p:ext uri="{BB962C8B-B14F-4D97-AF65-F5344CB8AC3E}">
        <p14:creationId xmlns:p14="http://schemas.microsoft.com/office/powerpoint/2010/main" val="2149998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are the headsets, in case you want to remember the OEMs..   As you an see, there is lots of OEMs, world-wide coverage. A great developer opportunity. </a:t>
            </a:r>
          </a:p>
          <a:p>
            <a:r>
              <a:rPr lang="en-US" sz="1200" kern="1200" dirty="0">
                <a:solidFill>
                  <a:schemeClr val="tx1"/>
                </a:solidFill>
                <a:effectLst/>
                <a:latin typeface="+mn-lt"/>
                <a:ea typeface="+mn-ea"/>
                <a:cs typeface="+mn-cs"/>
              </a:rPr>
              <a:t>Personalize it, if possible: </a:t>
            </a:r>
          </a:p>
          <a:p>
            <a:r>
              <a:rPr lang="en-US" sz="1200" kern="1200" dirty="0">
                <a:solidFill>
                  <a:schemeClr val="tx1"/>
                </a:solidFill>
                <a:effectLst/>
                <a:latin typeface="+mn-lt"/>
                <a:ea typeface="+mn-ea"/>
                <a:cs typeface="+mn-cs"/>
              </a:rPr>
              <a:t>I love the Acer because it is light and the flip feature provides me great productivity during developmen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at said, the Samsung has an amazing quality. It was launched last year and has a very high quality display..   </a:t>
            </a:r>
          </a:p>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4</a:t>
            </a:fld>
            <a:endParaRPr lang="en-US"/>
          </a:p>
        </p:txBody>
      </p:sp>
    </p:spTree>
    <p:extLst>
      <p:ext uri="{BB962C8B-B14F-4D97-AF65-F5344CB8AC3E}">
        <p14:creationId xmlns:p14="http://schemas.microsoft.com/office/powerpoint/2010/main" val="996045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done with the intro.. From here on it is code ;) </a:t>
            </a:r>
          </a:p>
          <a:p>
            <a:r>
              <a:rPr lang="en-US"/>
              <a:t>A hands-on, code heavy demonstration on building our first MR app(s).. .</a:t>
            </a:r>
          </a:p>
        </p:txBody>
      </p:sp>
      <p:sp>
        <p:nvSpPr>
          <p:cNvPr id="4" name="Slide Number Placeholder 3"/>
          <p:cNvSpPr>
            <a:spLocks noGrp="1"/>
          </p:cNvSpPr>
          <p:nvPr>
            <p:ph type="sldNum" sz="quarter" idx="10"/>
          </p:nvPr>
        </p:nvSpPr>
        <p:spPr/>
        <p:txBody>
          <a:bodyPr/>
          <a:lstStyle/>
          <a:p>
            <a:fld id="{422875B9-ED09-4137-9A29-D47AB6AF8F79}" type="slidenum">
              <a:rPr lang="en-US" smtClean="0"/>
              <a:t>5</a:t>
            </a:fld>
            <a:endParaRPr lang="en-US"/>
          </a:p>
        </p:txBody>
      </p:sp>
    </p:spTree>
    <p:extLst>
      <p:ext uri="{BB962C8B-B14F-4D97-AF65-F5344CB8AC3E}">
        <p14:creationId xmlns:p14="http://schemas.microsoft.com/office/powerpoint/2010/main" val="3933426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For today, we are going to use Unity and Visual Studio to build our Mixed Reality app. </a:t>
            </a:r>
          </a:p>
          <a:p>
            <a:endParaRPr lang="en-US" dirty="0"/>
          </a:p>
          <a:p>
            <a:r>
              <a:rPr lang="en-US" dirty="0"/>
              <a:t>Unity is the most popular 3d engine for Virtual and Augmented reality, so everything you learn today is applicable to apps you could write for other platforms like </a:t>
            </a:r>
            <a:r>
              <a:rPr lang="en-US" dirty="0" err="1"/>
              <a:t>SteamVR</a:t>
            </a:r>
            <a:r>
              <a:rPr lang="en-US" dirty="0"/>
              <a:t>, or Oculus Rift. </a:t>
            </a:r>
          </a:p>
          <a:p>
            <a:endParaRPr lang="en-US" dirty="0"/>
          </a:p>
          <a:p>
            <a:r>
              <a:rPr lang="en-US" dirty="0"/>
              <a:t>Our app will span across the Mixed Reality continuum. We will start with Virtual Reality on this headset and then move to Augmented reality with </a:t>
            </a:r>
            <a:r>
              <a:rPr lang="en-US" dirty="0" err="1"/>
              <a:t>hololens</a:t>
            </a:r>
            <a:r>
              <a:rPr lang="en-US" dirty="0"/>
              <a:t>. It is all one code base, one scene even. </a:t>
            </a:r>
          </a:p>
          <a:p>
            <a:endParaRPr lang="en-US" dirty="0"/>
          </a:p>
          <a:p>
            <a:r>
              <a:rPr lang="en-US" dirty="0"/>
              <a:t>We will used the Mixed Reality toolkit to jumpstart or accelerate our development..   If you are familiar with other toolkits like MRTK or </a:t>
            </a:r>
            <a:r>
              <a:rPr lang="en-US" dirty="0" err="1"/>
              <a:t>NewtonVR</a:t>
            </a:r>
            <a:r>
              <a:rPr lang="en-US" dirty="0"/>
              <a:t>, you can use those too. They support </a:t>
            </a:r>
            <a:r>
              <a:rPr lang="en-US" dirty="0" err="1"/>
              <a:t>WinMR</a:t>
            </a:r>
            <a:r>
              <a:rPr lang="en-US" dirty="0"/>
              <a:t> already. </a:t>
            </a:r>
          </a:p>
          <a:p>
            <a:endParaRPr lang="en-US" dirty="0"/>
          </a:p>
          <a:p>
            <a:r>
              <a:rPr lang="en-US" dirty="0"/>
              <a:t>Today, we are using MRTK because that maximizes reuse with </a:t>
            </a:r>
            <a:r>
              <a:rPr lang="en-US" dirty="0" err="1"/>
              <a:t>Hololens</a:t>
            </a:r>
            <a:r>
              <a:rPr lang="en-US" dirty="0"/>
              <a:t>. </a:t>
            </a:r>
          </a:p>
        </p:txBody>
      </p:sp>
      <p:sp>
        <p:nvSpPr>
          <p:cNvPr id="4" name="Slide Number Placeholder 3"/>
          <p:cNvSpPr>
            <a:spLocks noGrp="1"/>
          </p:cNvSpPr>
          <p:nvPr>
            <p:ph type="sldNum" sz="quarter" idx="10"/>
          </p:nvPr>
        </p:nvSpPr>
        <p:spPr/>
        <p:txBody>
          <a:bodyPr/>
          <a:lstStyle/>
          <a:p>
            <a:fld id="{422875B9-ED09-4137-9A29-D47AB6AF8F79}" type="slidenum">
              <a:rPr lang="en-US" smtClean="0"/>
              <a:t>6</a:t>
            </a:fld>
            <a:endParaRPr lang="en-US"/>
          </a:p>
        </p:txBody>
      </p:sp>
    </p:spTree>
    <p:extLst>
      <p:ext uri="{BB962C8B-B14F-4D97-AF65-F5344CB8AC3E}">
        <p14:creationId xmlns:p14="http://schemas.microsoft.com/office/powerpoint/2010/main" val="3757567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won’t be showing using these today, but I do want to give a shout to our emulators. </a:t>
            </a:r>
          </a:p>
          <a:p>
            <a:endParaRPr lang="en-US"/>
          </a:p>
          <a:p>
            <a:r>
              <a:rPr lang="en-US"/>
              <a:t>If you do not have a </a:t>
            </a:r>
            <a:r>
              <a:rPr lang="en-US" err="1"/>
              <a:t>hololens</a:t>
            </a:r>
            <a:r>
              <a:rPr lang="en-US"/>
              <a:t> device or a VR headset, you can use the emulators and still develop the apps. </a:t>
            </a:r>
          </a:p>
          <a:p>
            <a:r>
              <a:rPr lang="en-US"/>
              <a:t>They are very feature rich with simulating input, controller, and headset orientation… </a:t>
            </a:r>
          </a:p>
          <a:p>
            <a:endParaRPr lang="en-US"/>
          </a:p>
          <a:p>
            <a:r>
              <a:rPr lang="en-US"/>
              <a:t>Click.. </a:t>
            </a:r>
          </a:p>
          <a:p>
            <a:r>
              <a:rPr lang="en-US"/>
              <a:t>If you have a great idea, start with the emulator and once you have your concept fleshed out, go to https://aka.ms/iwantmr and nominate your idea for our early porting program. They can give you a free immersive headset, controllers, and access to great help to ship an app ..</a:t>
            </a:r>
          </a:p>
        </p:txBody>
      </p:sp>
      <p:sp>
        <p:nvSpPr>
          <p:cNvPr id="4" name="Slide Number Placeholder 3"/>
          <p:cNvSpPr>
            <a:spLocks noGrp="1"/>
          </p:cNvSpPr>
          <p:nvPr>
            <p:ph type="sldNum" sz="quarter" idx="10"/>
          </p:nvPr>
        </p:nvSpPr>
        <p:spPr/>
        <p:txBody>
          <a:bodyPr/>
          <a:lstStyle/>
          <a:p>
            <a:fld id="{422875B9-ED09-4137-9A29-D47AB6AF8F79}" type="slidenum">
              <a:rPr lang="en-US" smtClean="0"/>
              <a:t>7</a:t>
            </a:fld>
            <a:endParaRPr lang="en-US"/>
          </a:p>
        </p:txBody>
      </p:sp>
    </p:spTree>
    <p:extLst>
      <p:ext uri="{BB962C8B-B14F-4D97-AF65-F5344CB8AC3E}">
        <p14:creationId xmlns:p14="http://schemas.microsoft.com/office/powerpoint/2010/main" val="3056081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rPr>
              <a:t>To write any Mixed Reality apps there is a core set of building blocks at our disposal.  In this session we are going to cover these core building blocks. </a:t>
            </a:r>
            <a:br>
              <a:rPr lang="en-US">
                <a:latin typeface="Segoe UI" panose="020B0502040204020203" pitchFamily="34" charset="0"/>
              </a:rPr>
            </a:br>
            <a:endParaRPr lang="en-US">
              <a:latin typeface="Segoe UI" panose="020B0502040204020203" pitchFamily="34" charset="0"/>
            </a:endParaRPr>
          </a:p>
          <a:p>
            <a:endParaRPr lang="en-US">
              <a:latin typeface="Segoe UI" panose="020B0502040204020203" pitchFamily="34" charset="0"/>
            </a:endParaRPr>
          </a:p>
          <a:p>
            <a:r>
              <a:rPr lang="en-US">
                <a:latin typeface="Segoe UI" panose="020B0502040204020203" pitchFamily="34" charset="0"/>
              </a:rPr>
              <a:t>===extra context  for reference. Not for delivery ===</a:t>
            </a:r>
            <a:br>
              <a:rPr lang="en-US">
                <a:latin typeface="Segoe UI" panose="020B0502040204020203" pitchFamily="34" charset="0"/>
              </a:rPr>
            </a:br>
            <a:r>
              <a:rPr lang="en-US">
                <a:latin typeface="Segoe UI" panose="020B0502040204020203" pitchFamily="34" charset="0"/>
              </a:rPr>
              <a:t>You will need to know about 3d objects and world coordinates to interact with the space or for your immersive experience. </a:t>
            </a:r>
          </a:p>
          <a:p>
            <a:r>
              <a:rPr lang="en-US">
                <a:latin typeface="Segoe UI" panose="020B0502040204020203" pitchFamily="34" charset="0"/>
              </a:rPr>
              <a:t>We will select an input mechanic like gestures or controllers based on the device and type of experience you are creating. .</a:t>
            </a:r>
            <a:endParaRPr lang="en-US" u="sng">
              <a:latin typeface="Segoe UI" panose="020B0502040204020203" pitchFamily="34" charset="0"/>
            </a:endParaRPr>
          </a:p>
          <a:p>
            <a:pPr defTabSz="931774">
              <a:defRPr/>
            </a:pPr>
            <a:r>
              <a:rPr lang="en-US">
                <a:latin typeface="Segoe UI" panose="020B0502040204020203" pitchFamily="34" charset="0"/>
              </a:rPr>
              <a:t>On Windows experiences, you can also use </a:t>
            </a:r>
            <a:r>
              <a:rPr lang="en-US" u="sng">
                <a:latin typeface="Segoe UI" panose="020B0502040204020203" pitchFamily="34" charset="0"/>
                <a:hlinkClick r:id="rId3"/>
              </a:rPr>
              <a:t>Voice input</a:t>
            </a:r>
            <a:r>
              <a:rPr lang="en-US">
                <a:latin typeface="Segoe UI" panose="020B0502040204020203" pitchFamily="34" charset="0"/>
              </a:rPr>
              <a:t>. Windows emphasizes it a little more and it is more common. </a:t>
            </a:r>
          </a:p>
          <a:p>
            <a:pPr defTabSz="931774">
              <a:defRPr/>
            </a:pPr>
            <a:r>
              <a:rPr lang="en-US">
                <a:latin typeface="Segoe UI" panose="020B0502040204020203" pitchFamily="34" charset="0"/>
              </a:rPr>
              <a:t>On some devices like Hololens or iPhones running </a:t>
            </a:r>
            <a:r>
              <a:rPr lang="en-US" err="1">
                <a:latin typeface="Segoe UI" panose="020B0502040204020203" pitchFamily="34" charset="0"/>
              </a:rPr>
              <a:t>ARKit</a:t>
            </a:r>
            <a:r>
              <a:rPr lang="en-US">
                <a:latin typeface="Segoe UI" panose="020B0502040204020203" pitchFamily="34" charset="0"/>
              </a:rPr>
              <a:t>, you can also implement </a:t>
            </a:r>
            <a:r>
              <a:rPr lang="en-US" u="sng">
                <a:latin typeface="Segoe UI" panose="020B0502040204020203" pitchFamily="34" charset="0"/>
                <a:hlinkClick r:id="rId4"/>
              </a:rPr>
              <a:t>Spatial mapping</a:t>
            </a:r>
            <a:r>
              <a:rPr lang="en-US" u="sng">
                <a:latin typeface="Segoe UI" panose="020B0502040204020203" pitchFamily="34" charset="0"/>
              </a:rPr>
              <a:t> </a:t>
            </a:r>
            <a:r>
              <a:rPr lang="en-US">
                <a:latin typeface="Segoe UI" panose="020B0502040204020203" pitchFamily="34" charset="0"/>
              </a:rPr>
              <a:t>or spatial understanding.. To map the environment that you are in and interact with the shell. </a:t>
            </a:r>
          </a:p>
          <a:p>
            <a:endParaRPr lang="en-US">
              <a:latin typeface="Segoe UI" panose="020B0502040204020203" pitchFamily="34" charset="0"/>
            </a:endParaRPr>
          </a:p>
          <a:p>
            <a:r>
              <a:rPr lang="en-US">
                <a:latin typeface="Segoe UI" panose="020B0502040204020203" pitchFamily="34" charset="0"/>
              </a:rPr>
              <a:t> </a:t>
            </a:r>
          </a:p>
        </p:txBody>
      </p:sp>
      <p:sp>
        <p:nvSpPr>
          <p:cNvPr id="4" name="Slide Number Placeholder 3"/>
          <p:cNvSpPr>
            <a:spLocks noGrp="1"/>
          </p:cNvSpPr>
          <p:nvPr>
            <p:ph type="sldNum" sz="quarter" idx="10"/>
          </p:nvPr>
        </p:nvSpPr>
        <p:spPr/>
        <p:txBody>
          <a:bodyPr/>
          <a:lstStyle/>
          <a:p>
            <a:fld id="{FC68CCEB-9B74-4B06-A035-26CD3C1A745F}" type="slidenum">
              <a:rPr lang="en-US" smtClean="0"/>
              <a:pPr/>
              <a:t>8</a:t>
            </a:fld>
            <a:endParaRPr lang="en-US"/>
          </a:p>
        </p:txBody>
      </p:sp>
    </p:spTree>
    <p:extLst>
      <p:ext uri="{BB962C8B-B14F-4D97-AF65-F5344CB8AC3E}">
        <p14:creationId xmlns:p14="http://schemas.microsoft.com/office/powerpoint/2010/main" val="3434072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a:latin typeface="Segoe UI" panose="020B0502040204020203" pitchFamily="34" charset="0"/>
              </a:rPr>
              <a:t>We live in a 3D world..  There fore as we talk about augmenting our world, or transporting ourselves to a different world, we will need to discuss 3d coordinate systems and different space types.. </a:t>
            </a:r>
          </a:p>
          <a:p>
            <a:endParaRPr lang="en-US" b="1" u="sng" dirty="0">
              <a:latin typeface="Segoe UI" panose="020B0502040204020203" pitchFamily="34" charset="0"/>
            </a:endParaRPr>
          </a:p>
          <a:p>
            <a:endParaRPr lang="en-US" b="1" u="sng" dirty="0">
              <a:latin typeface="Segoe UI" panose="020B0502040204020203" pitchFamily="34" charset="0"/>
            </a:endParaRPr>
          </a:p>
          <a:p>
            <a:r>
              <a:rPr lang="en-US" b="1" u="sng" dirty="0">
                <a:latin typeface="Segoe UI" panose="020B0502040204020203" pitchFamily="34" charset="0"/>
              </a:rPr>
              <a:t>==== For reference only ============</a:t>
            </a:r>
          </a:p>
          <a:p>
            <a:endParaRPr lang="en-US" b="1" u="sng" dirty="0">
              <a:latin typeface="Segoe UI" panose="020B0502040204020203" pitchFamily="34" charset="0"/>
            </a:endParaRPr>
          </a:p>
          <a:p>
            <a:r>
              <a:rPr lang="en-US" b="1" u="sng" dirty="0">
                <a:latin typeface="Segoe UI" panose="020B0502040204020203" pitchFamily="34" charset="0"/>
              </a:rPr>
              <a:t>Useful for speaker: https://developer.microsoft.com/en-us/windows/mixed-reality/coordinate_systems</a:t>
            </a:r>
            <a:endParaRPr lang="en-US" dirty="0">
              <a:latin typeface="Segoe UI" panose="020B0502040204020203" pitchFamily="34" charset="0"/>
            </a:endParaRPr>
          </a:p>
          <a:p>
            <a:r>
              <a:rPr lang="en-US" dirty="0">
                <a:latin typeface="Segoe UI" panose="020B0502040204020203" pitchFamily="34" charset="0"/>
              </a:rPr>
              <a:t>At their core, holographic apps place </a:t>
            </a:r>
            <a:r>
              <a:rPr lang="en-US" u="sng" dirty="0">
                <a:latin typeface="Segoe UI" panose="020B0502040204020203" pitchFamily="34" charset="0"/>
                <a:hlinkClick r:id="rId3"/>
              </a:rPr>
              <a:t>holograms</a:t>
            </a:r>
            <a:r>
              <a:rPr lang="en-US" dirty="0">
                <a:latin typeface="Segoe UI" panose="020B0502040204020203" pitchFamily="34" charset="0"/>
              </a:rPr>
              <a:t> in your world that look and sound like real objects. This involves precisely positioning and orienting those holograms at places in the world that are meaningful to the user. When reasoning about the position and orientation of your holograms, or any other geometry such as the </a:t>
            </a:r>
            <a:r>
              <a:rPr lang="en-US" u="sng" dirty="0">
                <a:latin typeface="Segoe UI" panose="020B0502040204020203" pitchFamily="34" charset="0"/>
                <a:hlinkClick r:id="rId4"/>
              </a:rPr>
              <a:t>gaze</a:t>
            </a:r>
            <a:r>
              <a:rPr lang="en-US" dirty="0">
                <a:latin typeface="Segoe UI" panose="020B0502040204020203" pitchFamily="34" charset="0"/>
              </a:rPr>
              <a:t> ray or </a:t>
            </a:r>
            <a:r>
              <a:rPr lang="en-US" u="sng" dirty="0">
                <a:latin typeface="Segoe UI" panose="020B0502040204020203" pitchFamily="34" charset="0"/>
                <a:hlinkClick r:id="rId5"/>
              </a:rPr>
              <a:t>hand positions</a:t>
            </a:r>
            <a:r>
              <a:rPr lang="en-US" dirty="0">
                <a:latin typeface="Segoe UI" panose="020B0502040204020203" pitchFamily="34" charset="0"/>
              </a:rPr>
              <a:t>, HoloLens uses various coordinate systems to represent that geometry.</a:t>
            </a:r>
          </a:p>
          <a:p>
            <a:r>
              <a:rPr lang="en-US" u="sng" dirty="0">
                <a:latin typeface="Segoe UI" panose="020B0502040204020203" pitchFamily="34" charset="0"/>
                <a:hlinkClick r:id="rId6"/>
              </a:rPr>
              <a:t>1 Spatial coordinate systems</a:t>
            </a:r>
            <a:endParaRPr lang="en-US" dirty="0">
              <a:latin typeface="Segoe UI" panose="020B0502040204020203" pitchFamily="34" charset="0"/>
            </a:endParaRPr>
          </a:p>
          <a:p>
            <a:r>
              <a:rPr lang="en-US" u="sng" dirty="0">
                <a:latin typeface="Segoe UI" panose="020B0502040204020203" pitchFamily="34" charset="0"/>
                <a:hlinkClick r:id="rId6"/>
              </a:rPr>
              <a:t>2 Stationary frame of reference</a:t>
            </a:r>
            <a:endParaRPr lang="en-US" dirty="0">
              <a:latin typeface="Segoe UI" panose="020B0502040204020203" pitchFamily="34" charset="0"/>
            </a:endParaRPr>
          </a:p>
          <a:p>
            <a:r>
              <a:rPr lang="en-US" u="sng" dirty="0">
                <a:latin typeface="Segoe UI" panose="020B0502040204020203" pitchFamily="34" charset="0"/>
                <a:hlinkClick r:id="rId6"/>
              </a:rPr>
              <a:t>3 Spatial anchors</a:t>
            </a:r>
            <a:endParaRPr lang="en-US" dirty="0">
              <a:latin typeface="Segoe UI" panose="020B0502040204020203" pitchFamily="34" charset="0"/>
            </a:endParaRPr>
          </a:p>
          <a:p>
            <a:pPr lvl="1"/>
            <a:r>
              <a:rPr lang="en-US" u="sng" dirty="0">
                <a:latin typeface="Segoe UI" panose="020B0502040204020203" pitchFamily="34" charset="0"/>
                <a:hlinkClick r:id="rId6"/>
              </a:rPr>
              <a:t>3.1 Why a single rigid coordinate system cannot be used for the whole scene</a:t>
            </a:r>
            <a:endParaRPr lang="en-US" dirty="0">
              <a:latin typeface="Segoe UI" panose="020B0502040204020203" pitchFamily="34" charset="0"/>
            </a:endParaRPr>
          </a:p>
          <a:p>
            <a:pPr lvl="1"/>
            <a:r>
              <a:rPr lang="en-US" u="sng" dirty="0">
                <a:latin typeface="Segoe UI" panose="020B0502040204020203" pitchFamily="34" charset="0"/>
                <a:hlinkClick r:id="rId6"/>
              </a:rPr>
              <a:t>3.2 The solution: Spatial anchors</a:t>
            </a:r>
            <a:endParaRPr lang="en-US" dirty="0">
              <a:latin typeface="Segoe UI" panose="020B0502040204020203" pitchFamily="34" charset="0"/>
            </a:endParaRPr>
          </a:p>
          <a:p>
            <a:pPr lvl="1"/>
            <a:r>
              <a:rPr lang="en-US" u="sng" dirty="0">
                <a:latin typeface="Segoe UI" panose="020B0502040204020203" pitchFamily="34" charset="0"/>
                <a:hlinkClick r:id="rId6"/>
              </a:rPr>
              <a:t>3.3 Spatial anchor persistence</a:t>
            </a:r>
            <a:endParaRPr lang="en-US" dirty="0">
              <a:latin typeface="Segoe UI" panose="020B0502040204020203" pitchFamily="34" charset="0"/>
            </a:endParaRPr>
          </a:p>
          <a:p>
            <a:pPr lvl="1"/>
            <a:r>
              <a:rPr lang="en-US" u="sng" dirty="0">
                <a:latin typeface="Segoe UI" panose="020B0502040204020203" pitchFamily="34" charset="0"/>
                <a:hlinkClick r:id="rId6"/>
              </a:rPr>
              <a:t>3.4 Spatial anchor sharing</a:t>
            </a:r>
            <a:endParaRPr lang="en-US" dirty="0">
              <a:latin typeface="Segoe UI" panose="020B0502040204020203" pitchFamily="34" charset="0"/>
            </a:endParaRPr>
          </a:p>
          <a:p>
            <a:pPr lvl="1"/>
            <a:r>
              <a:rPr lang="en-US" u="sng" dirty="0">
                <a:latin typeface="Segoe UI" panose="020B0502040204020203" pitchFamily="34" charset="0"/>
                <a:hlinkClick r:id="rId6"/>
              </a:rPr>
              <a:t>3.5 Best practices</a:t>
            </a:r>
            <a:endParaRPr lang="en-US" dirty="0">
              <a:latin typeface="Segoe UI" panose="020B0502040204020203" pitchFamily="34" charset="0"/>
            </a:endParaRPr>
          </a:p>
          <a:p>
            <a:r>
              <a:rPr lang="en-US" u="sng" dirty="0">
                <a:latin typeface="Segoe UI" panose="020B0502040204020203" pitchFamily="34" charset="0"/>
                <a:hlinkClick r:id="rId6"/>
              </a:rPr>
              <a:t>4 Attached frame of reference</a:t>
            </a:r>
            <a:endParaRPr lang="en-US" dirty="0">
              <a:latin typeface="Segoe UI" panose="020B0502040204020203" pitchFamily="34" charset="0"/>
            </a:endParaRPr>
          </a:p>
          <a:p>
            <a:r>
              <a:rPr lang="en-US" u="sng" dirty="0">
                <a:latin typeface="Segoe UI" panose="020B0502040204020203" pitchFamily="34" charset="0"/>
                <a:hlinkClick r:id="rId6"/>
              </a:rPr>
              <a:t>5 Head-locked content</a:t>
            </a:r>
            <a:endParaRPr lang="en-US" dirty="0">
              <a:latin typeface="Segoe UI" panose="020B0502040204020203" pitchFamily="34" charset="0"/>
            </a:endParaRPr>
          </a:p>
          <a:p>
            <a:r>
              <a:rPr lang="en-US" u="sng" dirty="0">
                <a:latin typeface="Segoe UI" panose="020B0502040204020203" pitchFamily="34" charset="0"/>
                <a:hlinkClick r:id="rId6"/>
              </a:rPr>
              <a:t>6 Handling tracking errors</a:t>
            </a:r>
            <a:endParaRPr lang="en-US" dirty="0">
              <a:latin typeface="Segoe UI" panose="020B0502040204020203" pitchFamily="34" charset="0"/>
            </a:endParaRPr>
          </a:p>
          <a:p>
            <a:pPr lvl="1"/>
            <a:r>
              <a:rPr lang="en-US" u="sng" dirty="0">
                <a:latin typeface="Segoe UI" panose="020B0502040204020203" pitchFamily="34" charset="0"/>
                <a:hlinkClick r:id="rId6"/>
              </a:rPr>
              <a:t>6.1 Device cannot track due to insufficient sensor data</a:t>
            </a:r>
            <a:endParaRPr lang="en-US" dirty="0">
              <a:latin typeface="Segoe UI" panose="020B0502040204020203" pitchFamily="34" charset="0"/>
            </a:endParaRPr>
          </a:p>
          <a:p>
            <a:pPr lvl="1"/>
            <a:r>
              <a:rPr lang="en-US" u="sng" dirty="0">
                <a:latin typeface="Segoe UI" panose="020B0502040204020203" pitchFamily="34" charset="0"/>
                <a:hlinkClick r:id="rId6"/>
              </a:rPr>
              <a:t>6.2 Device tracks incorrectly due to dynamic changes in the environment</a:t>
            </a:r>
            <a:endParaRPr lang="en-US" dirty="0">
              <a:latin typeface="Segoe UI" panose="020B0502040204020203" pitchFamily="34" charset="0"/>
            </a:endParaRPr>
          </a:p>
          <a:p>
            <a:pPr lvl="1"/>
            <a:r>
              <a:rPr lang="en-US" u="sng" dirty="0">
                <a:latin typeface="Segoe UI" panose="020B0502040204020203" pitchFamily="34" charset="0"/>
                <a:hlinkClick r:id="rId6"/>
              </a:rPr>
              <a:t>6.3 Device tracks incorrectly because the environment has changed significantly over time</a:t>
            </a:r>
            <a:endParaRPr lang="en-US" dirty="0">
              <a:latin typeface="Segoe UI" panose="020B0502040204020203" pitchFamily="34" charset="0"/>
            </a:endParaRPr>
          </a:p>
          <a:p>
            <a:pPr lvl="1"/>
            <a:r>
              <a:rPr lang="en-US" u="sng" dirty="0">
                <a:latin typeface="Segoe UI" panose="020B0502040204020203" pitchFamily="34" charset="0"/>
                <a:hlinkClick r:id="rId6"/>
              </a:rPr>
              <a:t>6.4 Device tracks incorrectly due to identical spaces in an environment</a:t>
            </a:r>
            <a:endParaRPr lang="en-US" dirty="0">
              <a:latin typeface="Segoe UI" panose="020B0502040204020203" pitchFamily="34" charset="0"/>
            </a:endParaRPr>
          </a:p>
          <a:p>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FC68CCEB-9B74-4B06-A035-26CD3C1A745F}" type="slidenum">
              <a:rPr lang="en-US" smtClean="0"/>
              <a:pPr/>
              <a:t>9</a:t>
            </a:fld>
            <a:endParaRPr lang="en-US"/>
          </a:p>
        </p:txBody>
      </p:sp>
    </p:spTree>
    <p:extLst>
      <p:ext uri="{BB962C8B-B14F-4D97-AF65-F5344CB8AC3E}">
        <p14:creationId xmlns:p14="http://schemas.microsoft.com/office/powerpoint/2010/main" val="1625211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23568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26521C-D9A5-44F2-9729-31AEB308F9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0" name="Rectangle 9">
            <a:extLst>
              <a:ext uri="{FF2B5EF4-FFF2-40B4-BE49-F238E27FC236}">
                <a16:creationId xmlns:a16="http://schemas.microsoft.com/office/drawing/2014/main" id="{4F2030F1-4E27-460F-AAAD-BDB0E0222A0C}"/>
              </a:ext>
            </a:extLst>
          </p:cNvPr>
          <p:cNvSpPr/>
          <p:nvPr userDrawn="1"/>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defRPr>
            </a:lvl1pPr>
          </a:lstStyle>
          <a:p>
            <a:r>
              <a:rPr lang="en-US"/>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Graphic 6">
            <a:extLst>
              <a:ext uri="{FF2B5EF4-FFF2-40B4-BE49-F238E27FC236}">
                <a16:creationId xmlns:a16="http://schemas.microsoft.com/office/drawing/2014/main" id="{EC7B8511-5FFF-4742-9851-69AD6CEB92C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6000" y="549000"/>
            <a:ext cx="1058613" cy="1440000"/>
          </a:xfrm>
          <a:prstGeom prst="rect">
            <a:avLst/>
          </a:prstGeom>
        </p:spPr>
      </p:pic>
    </p:spTree>
    <p:extLst>
      <p:ext uri="{BB962C8B-B14F-4D97-AF65-F5344CB8AC3E}">
        <p14:creationId xmlns:p14="http://schemas.microsoft.com/office/powerpoint/2010/main" val="11149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297381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09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995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stitial">
    <p:bg>
      <p:bgPr>
        <a:solidFill>
          <a:srgbClr val="235689"/>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5289397-00E1-42AA-8577-7E469339DA7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6002" y="2259000"/>
            <a:ext cx="4679998" cy="1615296"/>
          </a:xfrm>
          <a:prstGeom prst="rect">
            <a:avLst/>
          </a:prstGeom>
        </p:spPr>
      </p:pic>
      <p:sp>
        <p:nvSpPr>
          <p:cNvPr id="9" name="TextBox 8">
            <a:extLst>
              <a:ext uri="{FF2B5EF4-FFF2-40B4-BE49-F238E27FC236}">
                <a16:creationId xmlns:a16="http://schemas.microsoft.com/office/drawing/2014/main" id="{C532BFE4-A0A1-48E5-B3BC-F4E4D64538E1}"/>
              </a:ext>
            </a:extLst>
          </p:cNvPr>
          <p:cNvSpPr txBox="1"/>
          <p:nvPr userDrawn="1"/>
        </p:nvSpPr>
        <p:spPr>
          <a:xfrm>
            <a:off x="3936000" y="4014000"/>
            <a:ext cx="4320000" cy="584775"/>
          </a:xfrm>
          <a:prstGeom prst="rect">
            <a:avLst/>
          </a:prstGeom>
          <a:noFill/>
        </p:spPr>
        <p:txBody>
          <a:bodyPr wrap="square" rtlCol="0">
            <a:spAutoFit/>
          </a:bodyPr>
          <a:lstStyle/>
          <a:p>
            <a:pPr algn="ctr"/>
            <a:r>
              <a:rPr lang="en-US" sz="3200" b="1" spc="-100" baseline="0">
                <a:solidFill>
                  <a:srgbClr val="F2F2F2"/>
                </a:solidFill>
              </a:rPr>
              <a:t>Insider Dev Tour</a:t>
            </a:r>
          </a:p>
        </p:txBody>
      </p:sp>
    </p:spTree>
    <p:extLst>
      <p:ext uri="{BB962C8B-B14F-4D97-AF65-F5344CB8AC3E}">
        <p14:creationId xmlns:p14="http://schemas.microsoft.com/office/powerpoint/2010/main" val="281662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ssion eval slide">
    <p:bg>
      <p:bgPr>
        <a:solidFill>
          <a:srgbClr val="235689"/>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userDrawn="1"/>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8" name="Group 7">
              <a:extLst>
                <a:ext uri="{FF2B5EF4-FFF2-40B4-BE49-F238E27FC236}">
                  <a16:creationId xmlns:a16="http://schemas.microsoft.com/office/drawing/2014/main" id="{FEDFAA6E-44F7-49BA-9E49-6AB9A10A10B9}"/>
                </a:ext>
              </a:extLst>
            </p:cNvPr>
            <p:cNvGrpSpPr/>
            <p:nvPr userDrawn="1"/>
          </p:nvGrpSpPr>
          <p:grpSpPr>
            <a:xfrm>
              <a:off x="11631000" y="6264000"/>
              <a:ext cx="225000" cy="225000"/>
              <a:chOff x="1776000" y="1269000"/>
              <a:chExt cx="1530000" cy="1530000"/>
            </a:xfrm>
          </p:grpSpPr>
          <p:sp>
            <p:nvSpPr>
              <p:cNvPr id="4" name="Rectangle 3">
                <a:extLst>
                  <a:ext uri="{FF2B5EF4-FFF2-40B4-BE49-F238E27FC236}">
                    <a16:creationId xmlns:a16="http://schemas.microsoft.com/office/drawing/2014/main" id="{8A337F59-92A8-439F-AAA4-2FE0EBDB96C2}"/>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BA7FC4-69AC-4A78-A71B-8EC8418181FB}"/>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FA46DA2-8688-4642-9A34-596ADF0F96C2}"/>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0D8E9DE-C1AC-48CC-B8C9-C6D1EFE6AD3B}"/>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solidFill>
                  <a:srgbClr val="3076BC"/>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Tree>
    <p:extLst>
      <p:ext uri="{BB962C8B-B14F-4D97-AF65-F5344CB8AC3E}">
        <p14:creationId xmlns:p14="http://schemas.microsoft.com/office/powerpoint/2010/main" val="131244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92454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4186137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75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21138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52313560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23568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96ED66-E95C-499D-A357-00B71AD7279F}"/>
              </a:ext>
            </a:extLst>
          </p:cNvPr>
          <p:cNvSpPr/>
          <p:nvPr userDrawn="1"/>
        </p:nvSpPr>
        <p:spPr>
          <a:xfrm>
            <a:off x="6096000" y="0"/>
            <a:ext cx="6096000" cy="6858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7D7B231-B42B-45E8-BC51-7F29536E1EF2}"/>
              </a:ext>
            </a:extLst>
          </p:cNvPr>
          <p:cNvSpPr>
            <a:spLocks noGrp="1"/>
          </p:cNvSpPr>
          <p:nvPr>
            <p:ph type="body" sz="quarter" idx="10" hasCustomPrompt="1"/>
          </p:nvPr>
        </p:nvSpPr>
        <p:spPr>
          <a:xfrm>
            <a:off x="33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7" name="Text Placeholder 2">
            <a:extLst>
              <a:ext uri="{FF2B5EF4-FFF2-40B4-BE49-F238E27FC236}">
                <a16:creationId xmlns:a16="http://schemas.microsoft.com/office/drawing/2014/main" id="{DEAC052E-0B08-4391-BA33-B683EF5C43AD}"/>
              </a:ext>
            </a:extLst>
          </p:cNvPr>
          <p:cNvSpPr>
            <a:spLocks noGrp="1"/>
          </p:cNvSpPr>
          <p:nvPr>
            <p:ph type="body" sz="quarter" idx="11" hasCustomPrompt="1"/>
          </p:nvPr>
        </p:nvSpPr>
        <p:spPr>
          <a:xfrm>
            <a:off x="128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3" name="Text Placeholder 2">
            <a:extLst>
              <a:ext uri="{FF2B5EF4-FFF2-40B4-BE49-F238E27FC236}">
                <a16:creationId xmlns:a16="http://schemas.microsoft.com/office/drawing/2014/main" id="{7C8A4268-959A-4CFE-A595-E2AFBD11CC05}"/>
              </a:ext>
            </a:extLst>
          </p:cNvPr>
          <p:cNvSpPr>
            <a:spLocks noGrp="1"/>
          </p:cNvSpPr>
          <p:nvPr>
            <p:ph type="body" sz="quarter" idx="14" hasCustomPrompt="1"/>
          </p:nvPr>
        </p:nvSpPr>
        <p:spPr>
          <a:xfrm>
            <a:off x="33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4" name="Text Placeholder 2">
            <a:extLst>
              <a:ext uri="{FF2B5EF4-FFF2-40B4-BE49-F238E27FC236}">
                <a16:creationId xmlns:a16="http://schemas.microsoft.com/office/drawing/2014/main" id="{537028A8-3D16-4E81-9F55-87ADDE8881BA}"/>
              </a:ext>
            </a:extLst>
          </p:cNvPr>
          <p:cNvSpPr>
            <a:spLocks noGrp="1"/>
          </p:cNvSpPr>
          <p:nvPr>
            <p:ph type="body" sz="quarter" idx="15" hasCustomPrompt="1"/>
          </p:nvPr>
        </p:nvSpPr>
        <p:spPr>
          <a:xfrm>
            <a:off x="128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7" name="Text Placeholder 2">
            <a:extLst>
              <a:ext uri="{FF2B5EF4-FFF2-40B4-BE49-F238E27FC236}">
                <a16:creationId xmlns:a16="http://schemas.microsoft.com/office/drawing/2014/main" id="{81784B64-93E3-4C58-8F71-3BCF2FE74485}"/>
              </a:ext>
            </a:extLst>
          </p:cNvPr>
          <p:cNvSpPr>
            <a:spLocks noGrp="1"/>
          </p:cNvSpPr>
          <p:nvPr>
            <p:ph type="body" sz="quarter" idx="18" hasCustomPrompt="1"/>
          </p:nvPr>
        </p:nvSpPr>
        <p:spPr>
          <a:xfrm>
            <a:off x="33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8" name="Text Placeholder 2">
            <a:extLst>
              <a:ext uri="{FF2B5EF4-FFF2-40B4-BE49-F238E27FC236}">
                <a16:creationId xmlns:a16="http://schemas.microsoft.com/office/drawing/2014/main" id="{2AE5F81B-63C3-49E7-87D8-AB3BF4B4E41D}"/>
              </a:ext>
            </a:extLst>
          </p:cNvPr>
          <p:cNvSpPr>
            <a:spLocks noGrp="1"/>
          </p:cNvSpPr>
          <p:nvPr>
            <p:ph type="body" sz="quarter" idx="19" hasCustomPrompt="1"/>
          </p:nvPr>
        </p:nvSpPr>
        <p:spPr>
          <a:xfrm>
            <a:off x="128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1" name="Text Placeholder 2">
            <a:extLst>
              <a:ext uri="{FF2B5EF4-FFF2-40B4-BE49-F238E27FC236}">
                <a16:creationId xmlns:a16="http://schemas.microsoft.com/office/drawing/2014/main" id="{EAACC181-770F-4C3B-AB9E-EDDCA9BA959B}"/>
              </a:ext>
            </a:extLst>
          </p:cNvPr>
          <p:cNvSpPr>
            <a:spLocks noGrp="1"/>
          </p:cNvSpPr>
          <p:nvPr>
            <p:ph type="body" sz="quarter" idx="22" hasCustomPrompt="1"/>
          </p:nvPr>
        </p:nvSpPr>
        <p:spPr>
          <a:xfrm>
            <a:off x="33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2" name="Text Placeholder 2">
            <a:extLst>
              <a:ext uri="{FF2B5EF4-FFF2-40B4-BE49-F238E27FC236}">
                <a16:creationId xmlns:a16="http://schemas.microsoft.com/office/drawing/2014/main" id="{A7D4DB09-5691-44F1-B73C-F525155B76BB}"/>
              </a:ext>
            </a:extLst>
          </p:cNvPr>
          <p:cNvSpPr>
            <a:spLocks noGrp="1"/>
          </p:cNvSpPr>
          <p:nvPr>
            <p:ph type="body" sz="quarter" idx="23" hasCustomPrompt="1"/>
          </p:nvPr>
        </p:nvSpPr>
        <p:spPr>
          <a:xfrm>
            <a:off x="128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5" name="Text Placeholder 2">
            <a:extLst>
              <a:ext uri="{FF2B5EF4-FFF2-40B4-BE49-F238E27FC236}">
                <a16:creationId xmlns:a16="http://schemas.microsoft.com/office/drawing/2014/main" id="{0CD0FD60-9724-4C7C-B7F9-425D37A8B5DE}"/>
              </a:ext>
            </a:extLst>
          </p:cNvPr>
          <p:cNvSpPr>
            <a:spLocks noGrp="1"/>
          </p:cNvSpPr>
          <p:nvPr>
            <p:ph type="body" sz="quarter" idx="26" hasCustomPrompt="1"/>
          </p:nvPr>
        </p:nvSpPr>
        <p:spPr>
          <a:xfrm>
            <a:off x="33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6" name="Text Placeholder 2">
            <a:extLst>
              <a:ext uri="{FF2B5EF4-FFF2-40B4-BE49-F238E27FC236}">
                <a16:creationId xmlns:a16="http://schemas.microsoft.com/office/drawing/2014/main" id="{35C92CEE-CAE5-42F3-9E2A-F9F7ABFA3055}"/>
              </a:ext>
            </a:extLst>
          </p:cNvPr>
          <p:cNvSpPr>
            <a:spLocks noGrp="1"/>
          </p:cNvSpPr>
          <p:nvPr>
            <p:ph type="body" sz="quarter" idx="27" hasCustomPrompt="1"/>
          </p:nvPr>
        </p:nvSpPr>
        <p:spPr>
          <a:xfrm>
            <a:off x="128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9" name="Text Placeholder 2">
            <a:extLst>
              <a:ext uri="{FF2B5EF4-FFF2-40B4-BE49-F238E27FC236}">
                <a16:creationId xmlns:a16="http://schemas.microsoft.com/office/drawing/2014/main" id="{5D9BBFEE-6DBB-44F1-A2C7-8125B75DB30F}"/>
              </a:ext>
            </a:extLst>
          </p:cNvPr>
          <p:cNvSpPr>
            <a:spLocks noGrp="1"/>
          </p:cNvSpPr>
          <p:nvPr>
            <p:ph type="body" sz="quarter" idx="30" hasCustomPrompt="1"/>
          </p:nvPr>
        </p:nvSpPr>
        <p:spPr>
          <a:xfrm>
            <a:off x="33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0" name="Text Placeholder 2">
            <a:extLst>
              <a:ext uri="{FF2B5EF4-FFF2-40B4-BE49-F238E27FC236}">
                <a16:creationId xmlns:a16="http://schemas.microsoft.com/office/drawing/2014/main" id="{0A13A669-1B38-461E-9927-0058B872B7A1}"/>
              </a:ext>
            </a:extLst>
          </p:cNvPr>
          <p:cNvSpPr>
            <a:spLocks noGrp="1"/>
          </p:cNvSpPr>
          <p:nvPr>
            <p:ph type="body" sz="quarter" idx="31" hasCustomPrompt="1"/>
          </p:nvPr>
        </p:nvSpPr>
        <p:spPr>
          <a:xfrm>
            <a:off x="128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3" name="Text Placeholder 2">
            <a:extLst>
              <a:ext uri="{FF2B5EF4-FFF2-40B4-BE49-F238E27FC236}">
                <a16:creationId xmlns:a16="http://schemas.microsoft.com/office/drawing/2014/main" id="{011D1179-1E3C-4B82-94A4-B2FD40DFE2DA}"/>
              </a:ext>
            </a:extLst>
          </p:cNvPr>
          <p:cNvSpPr>
            <a:spLocks noGrp="1"/>
          </p:cNvSpPr>
          <p:nvPr>
            <p:ph type="body" sz="quarter" idx="34" hasCustomPrompt="1"/>
          </p:nvPr>
        </p:nvSpPr>
        <p:spPr>
          <a:xfrm>
            <a:off x="636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4" name="Text Placeholder 2">
            <a:extLst>
              <a:ext uri="{FF2B5EF4-FFF2-40B4-BE49-F238E27FC236}">
                <a16:creationId xmlns:a16="http://schemas.microsoft.com/office/drawing/2014/main" id="{56723640-A36E-4558-97DD-568CD39F9C59}"/>
              </a:ext>
            </a:extLst>
          </p:cNvPr>
          <p:cNvSpPr>
            <a:spLocks noGrp="1"/>
          </p:cNvSpPr>
          <p:nvPr>
            <p:ph type="body" sz="quarter" idx="35" hasCustomPrompt="1"/>
          </p:nvPr>
        </p:nvSpPr>
        <p:spPr>
          <a:xfrm>
            <a:off x="731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7" name="Text Placeholder 2">
            <a:extLst>
              <a:ext uri="{FF2B5EF4-FFF2-40B4-BE49-F238E27FC236}">
                <a16:creationId xmlns:a16="http://schemas.microsoft.com/office/drawing/2014/main" id="{8155134E-9ACB-4818-B411-4AA8F50B58BE}"/>
              </a:ext>
            </a:extLst>
          </p:cNvPr>
          <p:cNvSpPr>
            <a:spLocks noGrp="1"/>
          </p:cNvSpPr>
          <p:nvPr>
            <p:ph type="body" sz="quarter" idx="38" hasCustomPrompt="1"/>
          </p:nvPr>
        </p:nvSpPr>
        <p:spPr>
          <a:xfrm>
            <a:off x="636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8" name="Text Placeholder 2">
            <a:extLst>
              <a:ext uri="{FF2B5EF4-FFF2-40B4-BE49-F238E27FC236}">
                <a16:creationId xmlns:a16="http://schemas.microsoft.com/office/drawing/2014/main" id="{79240262-EFFF-4ACC-A914-FC5C72F66E4B}"/>
              </a:ext>
            </a:extLst>
          </p:cNvPr>
          <p:cNvSpPr>
            <a:spLocks noGrp="1"/>
          </p:cNvSpPr>
          <p:nvPr>
            <p:ph type="body" sz="quarter" idx="39" hasCustomPrompt="1"/>
          </p:nvPr>
        </p:nvSpPr>
        <p:spPr>
          <a:xfrm>
            <a:off x="731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1" name="Text Placeholder 2">
            <a:extLst>
              <a:ext uri="{FF2B5EF4-FFF2-40B4-BE49-F238E27FC236}">
                <a16:creationId xmlns:a16="http://schemas.microsoft.com/office/drawing/2014/main" id="{445DAD2F-3C4C-431F-A64E-544FD417A3A1}"/>
              </a:ext>
            </a:extLst>
          </p:cNvPr>
          <p:cNvSpPr>
            <a:spLocks noGrp="1"/>
          </p:cNvSpPr>
          <p:nvPr>
            <p:ph type="body" sz="quarter" idx="42" hasCustomPrompt="1"/>
          </p:nvPr>
        </p:nvSpPr>
        <p:spPr>
          <a:xfrm>
            <a:off x="636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2" name="Text Placeholder 2">
            <a:extLst>
              <a:ext uri="{FF2B5EF4-FFF2-40B4-BE49-F238E27FC236}">
                <a16:creationId xmlns:a16="http://schemas.microsoft.com/office/drawing/2014/main" id="{6BFD6B20-654B-4021-AFCD-6BFB92C3A674}"/>
              </a:ext>
            </a:extLst>
          </p:cNvPr>
          <p:cNvSpPr>
            <a:spLocks noGrp="1"/>
          </p:cNvSpPr>
          <p:nvPr>
            <p:ph type="body" sz="quarter" idx="43" hasCustomPrompt="1"/>
          </p:nvPr>
        </p:nvSpPr>
        <p:spPr>
          <a:xfrm>
            <a:off x="731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5" name="Text Placeholder 2">
            <a:extLst>
              <a:ext uri="{FF2B5EF4-FFF2-40B4-BE49-F238E27FC236}">
                <a16:creationId xmlns:a16="http://schemas.microsoft.com/office/drawing/2014/main" id="{A2367E3E-C41A-4BBA-8583-D0063644E062}"/>
              </a:ext>
            </a:extLst>
          </p:cNvPr>
          <p:cNvSpPr>
            <a:spLocks noGrp="1"/>
          </p:cNvSpPr>
          <p:nvPr>
            <p:ph type="body" sz="quarter" idx="46" hasCustomPrompt="1"/>
          </p:nvPr>
        </p:nvSpPr>
        <p:spPr>
          <a:xfrm>
            <a:off x="636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6" name="Text Placeholder 2">
            <a:extLst>
              <a:ext uri="{FF2B5EF4-FFF2-40B4-BE49-F238E27FC236}">
                <a16:creationId xmlns:a16="http://schemas.microsoft.com/office/drawing/2014/main" id="{A60A0AAC-56E8-443C-B236-7081EEC2BBFD}"/>
              </a:ext>
            </a:extLst>
          </p:cNvPr>
          <p:cNvSpPr>
            <a:spLocks noGrp="1"/>
          </p:cNvSpPr>
          <p:nvPr>
            <p:ph type="body" sz="quarter" idx="47" hasCustomPrompt="1"/>
          </p:nvPr>
        </p:nvSpPr>
        <p:spPr>
          <a:xfrm>
            <a:off x="731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9" name="Text Placeholder 2">
            <a:extLst>
              <a:ext uri="{FF2B5EF4-FFF2-40B4-BE49-F238E27FC236}">
                <a16:creationId xmlns:a16="http://schemas.microsoft.com/office/drawing/2014/main" id="{F0E61B97-7B83-4C1A-886B-6BD80475E71F}"/>
              </a:ext>
            </a:extLst>
          </p:cNvPr>
          <p:cNvSpPr>
            <a:spLocks noGrp="1"/>
          </p:cNvSpPr>
          <p:nvPr>
            <p:ph type="body" sz="quarter" idx="50" hasCustomPrompt="1"/>
          </p:nvPr>
        </p:nvSpPr>
        <p:spPr>
          <a:xfrm>
            <a:off x="636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0" name="Text Placeholder 2">
            <a:extLst>
              <a:ext uri="{FF2B5EF4-FFF2-40B4-BE49-F238E27FC236}">
                <a16:creationId xmlns:a16="http://schemas.microsoft.com/office/drawing/2014/main" id="{0C526012-D06A-48B0-A774-AC140D126062}"/>
              </a:ext>
            </a:extLst>
          </p:cNvPr>
          <p:cNvSpPr>
            <a:spLocks noGrp="1"/>
          </p:cNvSpPr>
          <p:nvPr>
            <p:ph type="body" sz="quarter" idx="51" hasCustomPrompt="1"/>
          </p:nvPr>
        </p:nvSpPr>
        <p:spPr>
          <a:xfrm>
            <a:off x="731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53" name="Text Placeholder 2">
            <a:extLst>
              <a:ext uri="{FF2B5EF4-FFF2-40B4-BE49-F238E27FC236}">
                <a16:creationId xmlns:a16="http://schemas.microsoft.com/office/drawing/2014/main" id="{6839FFE6-C37F-4BD2-8546-76E451789688}"/>
              </a:ext>
            </a:extLst>
          </p:cNvPr>
          <p:cNvSpPr>
            <a:spLocks noGrp="1"/>
          </p:cNvSpPr>
          <p:nvPr>
            <p:ph type="body" sz="quarter" idx="54" hasCustomPrompt="1"/>
          </p:nvPr>
        </p:nvSpPr>
        <p:spPr>
          <a:xfrm>
            <a:off x="636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4" name="Text Placeholder 2">
            <a:extLst>
              <a:ext uri="{FF2B5EF4-FFF2-40B4-BE49-F238E27FC236}">
                <a16:creationId xmlns:a16="http://schemas.microsoft.com/office/drawing/2014/main" id="{BAF0B808-896C-4563-AAD9-31C8E62D710A}"/>
              </a:ext>
            </a:extLst>
          </p:cNvPr>
          <p:cNvSpPr>
            <a:spLocks noGrp="1"/>
          </p:cNvSpPr>
          <p:nvPr>
            <p:ph type="body" sz="quarter" idx="55" hasCustomPrompt="1"/>
          </p:nvPr>
        </p:nvSpPr>
        <p:spPr>
          <a:xfrm>
            <a:off x="731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 name="Title 3">
            <a:extLst>
              <a:ext uri="{FF2B5EF4-FFF2-40B4-BE49-F238E27FC236}">
                <a16:creationId xmlns:a16="http://schemas.microsoft.com/office/drawing/2014/main" id="{29FB6A00-E88F-4EAB-85A3-8801802AA4DD}"/>
              </a:ext>
            </a:extLst>
          </p:cNvPr>
          <p:cNvSpPr>
            <a:spLocks noGrp="1"/>
          </p:cNvSpPr>
          <p:nvPr>
            <p:ph type="title" hasCustomPrompt="1"/>
          </p:nvPr>
        </p:nvSpPr>
        <p:spPr>
          <a:xfrm>
            <a:off x="336000" y="414000"/>
            <a:ext cx="5490000" cy="535531"/>
          </a:xfrm>
          <a:noFill/>
        </p:spPr>
        <p:txBody>
          <a:bodyPr wrap="square" rtlCol="0">
            <a:spAutoFit/>
          </a:bodyPr>
          <a:lstStyle>
            <a:lvl1pPr>
              <a:defRPr lang="en-US" sz="3200">
                <a:solidFill>
                  <a:srgbClr val="F2F2F2"/>
                </a:solidFill>
                <a:latin typeface="+mn-lt"/>
                <a:ea typeface="+mn-ea"/>
                <a:cs typeface="+mn-cs"/>
              </a:defRPr>
            </a:lvl1pPr>
          </a:lstStyle>
          <a:p>
            <a:pPr marL="0" lvl="0"/>
            <a:r>
              <a:rPr lang="en-US"/>
              <a:t>[Agenda title]</a:t>
            </a:r>
          </a:p>
        </p:txBody>
      </p:sp>
      <p:sp>
        <p:nvSpPr>
          <p:cNvPr id="58" name="Text Placeholder 2">
            <a:extLst>
              <a:ext uri="{FF2B5EF4-FFF2-40B4-BE49-F238E27FC236}">
                <a16:creationId xmlns:a16="http://schemas.microsoft.com/office/drawing/2014/main" id="{B3FADF42-9387-487F-ABE7-6601A98238CA}"/>
              </a:ext>
            </a:extLst>
          </p:cNvPr>
          <p:cNvSpPr>
            <a:spLocks noGrp="1"/>
          </p:cNvSpPr>
          <p:nvPr>
            <p:ph type="body" sz="quarter" idx="56" hasCustomPrompt="1"/>
          </p:nvPr>
        </p:nvSpPr>
        <p:spPr>
          <a:xfrm>
            <a:off x="6366550" y="414001"/>
            <a:ext cx="5490000" cy="539999"/>
          </a:xfrm>
          <a:noFill/>
        </p:spPr>
        <p:txBody>
          <a:bodyPr vert="horz" wrap="square" lIns="91440" tIns="45720" rIns="91440" bIns="45720" rtlCol="0" anchor="ctr">
            <a:spAutoFit/>
          </a:bodyPr>
          <a:lstStyle>
            <a:lvl1pPr marL="0" indent="0">
              <a:buNone/>
              <a:defRPr lang="en-US" sz="3200" b="1" spc="-100" dirty="0">
                <a:solidFill>
                  <a:srgbClr val="F2F2F2"/>
                </a:solidFill>
              </a:defRPr>
            </a:lvl1pPr>
          </a:lstStyle>
          <a:p>
            <a:pPr marL="228600" lvl="0" indent="-457200">
              <a:lnSpc>
                <a:spcPct val="90000"/>
              </a:lnSpc>
              <a:spcBef>
                <a:spcPct val="0"/>
              </a:spcBef>
            </a:pPr>
            <a:r>
              <a:rPr lang="en-US"/>
              <a:t>[Agenda title]</a:t>
            </a:r>
          </a:p>
        </p:txBody>
      </p:sp>
      <p:sp>
        <p:nvSpPr>
          <p:cNvPr id="28" name="Text Placeholder 2">
            <a:extLst>
              <a:ext uri="{FF2B5EF4-FFF2-40B4-BE49-F238E27FC236}">
                <a16:creationId xmlns:a16="http://schemas.microsoft.com/office/drawing/2014/main" id="{9473D5B8-0062-4AF1-BAAD-F0245BBCB055}"/>
              </a:ext>
            </a:extLst>
          </p:cNvPr>
          <p:cNvSpPr>
            <a:spLocks noGrp="1"/>
          </p:cNvSpPr>
          <p:nvPr>
            <p:ph type="body" sz="quarter" idx="57" hasCustomPrompt="1"/>
          </p:nvPr>
        </p:nvSpPr>
        <p:spPr>
          <a:xfrm>
            <a:off x="33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1" name="Text Placeholder 2">
            <a:extLst>
              <a:ext uri="{FF2B5EF4-FFF2-40B4-BE49-F238E27FC236}">
                <a16:creationId xmlns:a16="http://schemas.microsoft.com/office/drawing/2014/main" id="{524F7CD9-BE7E-44F2-B91D-FBB7E33008E2}"/>
              </a:ext>
            </a:extLst>
          </p:cNvPr>
          <p:cNvSpPr>
            <a:spLocks noGrp="1"/>
          </p:cNvSpPr>
          <p:nvPr>
            <p:ph type="body" sz="quarter" idx="58" hasCustomPrompt="1"/>
          </p:nvPr>
        </p:nvSpPr>
        <p:spPr>
          <a:xfrm>
            <a:off x="128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2" name="Text Placeholder 2">
            <a:extLst>
              <a:ext uri="{FF2B5EF4-FFF2-40B4-BE49-F238E27FC236}">
                <a16:creationId xmlns:a16="http://schemas.microsoft.com/office/drawing/2014/main" id="{6A96BE73-CA7E-487E-A3CB-25863266F21F}"/>
              </a:ext>
            </a:extLst>
          </p:cNvPr>
          <p:cNvSpPr>
            <a:spLocks noGrp="1"/>
          </p:cNvSpPr>
          <p:nvPr>
            <p:ph type="body" sz="quarter" idx="59" hasCustomPrompt="1"/>
          </p:nvPr>
        </p:nvSpPr>
        <p:spPr>
          <a:xfrm>
            <a:off x="636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5" name="Text Placeholder 2">
            <a:extLst>
              <a:ext uri="{FF2B5EF4-FFF2-40B4-BE49-F238E27FC236}">
                <a16:creationId xmlns:a16="http://schemas.microsoft.com/office/drawing/2014/main" id="{1341FF20-985B-4A9C-9ECE-655A7E239E70}"/>
              </a:ext>
            </a:extLst>
          </p:cNvPr>
          <p:cNvSpPr>
            <a:spLocks noGrp="1"/>
          </p:cNvSpPr>
          <p:nvPr>
            <p:ph type="body" sz="quarter" idx="60" hasCustomPrompt="1"/>
          </p:nvPr>
        </p:nvSpPr>
        <p:spPr>
          <a:xfrm>
            <a:off x="731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Tree>
    <p:extLst>
      <p:ext uri="{BB962C8B-B14F-4D97-AF65-F5344CB8AC3E}">
        <p14:creationId xmlns:p14="http://schemas.microsoft.com/office/powerpoint/2010/main" val="140876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53126345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6317336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683773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4981496"/>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33246138"/>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7874623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23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520649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25828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8250796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16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841434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19275827"/>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2898236"/>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344939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03418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883154"/>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0828617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8905904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163555"/>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25530CD-2927-405B-8540-946D84B92B32}"/>
              </a:ext>
            </a:extLst>
          </p:cNvPr>
          <p:cNvGrpSpPr/>
          <p:nvPr userDrawn="1"/>
        </p:nvGrpSpPr>
        <p:grpSpPr>
          <a:xfrm>
            <a:off x="516000" y="1584000"/>
            <a:ext cx="3218788" cy="3030457"/>
            <a:chOff x="3761921" y="345947"/>
            <a:chExt cx="3218788" cy="3030457"/>
          </a:xfrm>
        </p:grpSpPr>
        <p:sp>
          <p:nvSpPr>
            <p:cNvPr id="30" name="Freeform: Shape 29">
              <a:extLst>
                <a:ext uri="{FF2B5EF4-FFF2-40B4-BE49-F238E27FC236}">
                  <a16:creationId xmlns:a16="http://schemas.microsoft.com/office/drawing/2014/main" id="{35171C49-DA46-43BC-BA65-48D139B65357}"/>
                </a:ext>
              </a:extLst>
            </p:cNvPr>
            <p:cNvSpPr/>
            <p:nvPr/>
          </p:nvSpPr>
          <p:spPr>
            <a:xfrm>
              <a:off x="4941297" y="2294351"/>
              <a:ext cx="667727" cy="479394"/>
            </a:xfrm>
            <a:custGeom>
              <a:avLst/>
              <a:gdLst>
                <a:gd name="connsiteX0" fmla="*/ 206349 w 667727"/>
                <a:gd name="connsiteY0" fmla="*/ 393205 h 479394"/>
                <a:gd name="connsiteX1" fmla="*/ 245042 w 667727"/>
                <a:gd name="connsiteY1" fmla="*/ 432071 h 479394"/>
                <a:gd name="connsiteX2" fmla="*/ 432006 w 667727"/>
                <a:gd name="connsiteY2" fmla="*/ 432071 h 479394"/>
                <a:gd name="connsiteX3" fmla="*/ 470700 w 667727"/>
                <a:gd name="connsiteY3" fmla="*/ 393205 h 479394"/>
                <a:gd name="connsiteX4" fmla="*/ 615374 w 667727"/>
                <a:gd name="connsiteY4" fmla="*/ 248702 h 479394"/>
                <a:gd name="connsiteX5" fmla="*/ 615374 w 667727"/>
                <a:gd name="connsiteY5" fmla="*/ 61738 h 479394"/>
                <a:gd name="connsiteX6" fmla="*/ 615374 w 667727"/>
                <a:gd name="connsiteY6" fmla="*/ 61738 h 479394"/>
                <a:gd name="connsiteX7" fmla="*/ 521892 w 667727"/>
                <a:gd name="connsiteY7" fmla="*/ 23044 h 479394"/>
                <a:gd name="connsiteX8" fmla="*/ 155156 w 667727"/>
                <a:gd name="connsiteY8" fmla="*/ 23044 h 479394"/>
                <a:gd name="connsiteX9" fmla="*/ 61846 w 667727"/>
                <a:gd name="connsiteY9" fmla="*/ 61738 h 479394"/>
                <a:gd name="connsiteX10" fmla="*/ 61846 w 667727"/>
                <a:gd name="connsiteY10" fmla="*/ 61738 h 479394"/>
                <a:gd name="connsiteX11" fmla="*/ 61572 w 667727"/>
                <a:gd name="connsiteY11" fmla="*/ 248428 h 479394"/>
                <a:gd name="connsiteX12" fmla="*/ 61846 w 667727"/>
                <a:gd name="connsiteY12" fmla="*/ 248702 h 4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27" h="479394">
                  <a:moveTo>
                    <a:pt x="206349" y="393205"/>
                  </a:moveTo>
                  <a:lnTo>
                    <a:pt x="245042" y="432071"/>
                  </a:lnTo>
                  <a:cubicBezTo>
                    <a:pt x="296697" y="483623"/>
                    <a:pt x="380351" y="483623"/>
                    <a:pt x="432006" y="432071"/>
                  </a:cubicBezTo>
                  <a:lnTo>
                    <a:pt x="470700" y="393205"/>
                  </a:lnTo>
                  <a:lnTo>
                    <a:pt x="615374" y="248702"/>
                  </a:lnTo>
                  <a:cubicBezTo>
                    <a:pt x="666926" y="197047"/>
                    <a:pt x="666926" y="113393"/>
                    <a:pt x="615374" y="61738"/>
                  </a:cubicBezTo>
                  <a:lnTo>
                    <a:pt x="615374" y="61738"/>
                  </a:lnTo>
                  <a:cubicBezTo>
                    <a:pt x="590549" y="36998"/>
                    <a:pt x="556940" y="23096"/>
                    <a:pt x="521892" y="23044"/>
                  </a:cubicBezTo>
                  <a:lnTo>
                    <a:pt x="155156" y="23044"/>
                  </a:lnTo>
                  <a:cubicBezTo>
                    <a:pt x="120160" y="23096"/>
                    <a:pt x="86603" y="37015"/>
                    <a:pt x="61846" y="61738"/>
                  </a:cubicBezTo>
                  <a:lnTo>
                    <a:pt x="61846" y="61738"/>
                  </a:lnTo>
                  <a:cubicBezTo>
                    <a:pt x="10225" y="113205"/>
                    <a:pt x="10088" y="196791"/>
                    <a:pt x="61572" y="248428"/>
                  </a:cubicBezTo>
                  <a:cubicBezTo>
                    <a:pt x="61657" y="248514"/>
                    <a:pt x="61760" y="248617"/>
                    <a:pt x="61846" y="248702"/>
                  </a:cubicBezTo>
                  <a:close/>
                </a:path>
              </a:pathLst>
            </a:custGeom>
            <a:solidFill>
              <a:srgbClr val="F2F2F2"/>
            </a:solidFill>
            <a:ln w="1709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1EEE446-1301-4D3F-99D2-C4E33545148F}"/>
                </a:ext>
              </a:extLst>
            </p:cNvPr>
            <p:cNvSpPr/>
            <p:nvPr/>
          </p:nvSpPr>
          <p:spPr>
            <a:xfrm>
              <a:off x="4509436"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2999"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9C266F5-3238-471E-A266-415C76AF5011}"/>
                </a:ext>
              </a:extLst>
            </p:cNvPr>
            <p:cNvSpPr/>
            <p:nvPr/>
          </p:nvSpPr>
          <p:spPr>
            <a:xfrm>
              <a:off x="5630533"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3000"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6BAD0C-0046-4F32-B998-A9C095E49C2E}"/>
                </a:ext>
              </a:extLst>
            </p:cNvPr>
            <p:cNvSpPr/>
            <p:nvPr/>
          </p:nvSpPr>
          <p:spPr>
            <a:xfrm>
              <a:off x="3761921" y="345947"/>
              <a:ext cx="3218788" cy="3030457"/>
            </a:xfrm>
            <a:custGeom>
              <a:avLst/>
              <a:gdLst>
                <a:gd name="connsiteX0" fmla="*/ 176453 w 3218787"/>
                <a:gd name="connsiteY0" fmla="*/ 2455808 h 3030456"/>
                <a:gd name="connsiteX1" fmla="*/ 352288 w 3218787"/>
                <a:gd name="connsiteY1" fmla="*/ 2682835 h 3030456"/>
                <a:gd name="connsiteX2" fmla="*/ 580000 w 3218787"/>
                <a:gd name="connsiteY2" fmla="*/ 2858670 h 3030456"/>
                <a:gd name="connsiteX3" fmla="*/ 847947 w 3218787"/>
                <a:gd name="connsiteY3" fmla="*/ 2972526 h 3030456"/>
                <a:gd name="connsiteX4" fmla="*/ 1144144 w 3218787"/>
                <a:gd name="connsiteY4" fmla="*/ 3012761 h 3030456"/>
                <a:gd name="connsiteX5" fmla="*/ 1344975 w 3218787"/>
                <a:gd name="connsiteY5" fmla="*/ 2975437 h 3030456"/>
                <a:gd name="connsiteX6" fmla="*/ 1517900 w 3218787"/>
                <a:gd name="connsiteY6" fmla="*/ 2868087 h 3030456"/>
                <a:gd name="connsiteX7" fmla="*/ 1690824 w 3218787"/>
                <a:gd name="connsiteY7" fmla="*/ 2975437 h 3030456"/>
                <a:gd name="connsiteX8" fmla="*/ 1891656 w 3218787"/>
                <a:gd name="connsiteY8" fmla="*/ 3012761 h 3030456"/>
                <a:gd name="connsiteX9" fmla="*/ 2188024 w 3218787"/>
                <a:gd name="connsiteY9" fmla="*/ 2972526 h 3030456"/>
                <a:gd name="connsiteX10" fmla="*/ 2455800 w 3218787"/>
                <a:gd name="connsiteY10" fmla="*/ 2859355 h 3030456"/>
                <a:gd name="connsiteX11" fmla="*/ 2683170 w 3218787"/>
                <a:gd name="connsiteY11" fmla="*/ 2683520 h 3030456"/>
                <a:gd name="connsiteX12" fmla="*/ 2859004 w 3218787"/>
                <a:gd name="connsiteY12" fmla="*/ 2455808 h 3030456"/>
                <a:gd name="connsiteX13" fmla="*/ 2972860 w 3218787"/>
                <a:gd name="connsiteY13" fmla="*/ 2187860 h 3030456"/>
                <a:gd name="connsiteX14" fmla="*/ 3013095 w 3218787"/>
                <a:gd name="connsiteY14" fmla="*/ 1891492 h 3030456"/>
                <a:gd name="connsiteX15" fmla="*/ 3013095 w 3218787"/>
                <a:gd name="connsiteY15" fmla="*/ 1853654 h 3030456"/>
                <a:gd name="connsiteX16" fmla="*/ 2825960 w 3218787"/>
                <a:gd name="connsiteY16" fmla="*/ 1666690 h 3030456"/>
                <a:gd name="connsiteX17" fmla="*/ 2825960 w 3218787"/>
                <a:gd name="connsiteY17" fmla="*/ 1144151 h 3030456"/>
                <a:gd name="connsiteX18" fmla="*/ 2826988 w 3218787"/>
                <a:gd name="connsiteY18" fmla="*/ 1144151 h 3030456"/>
                <a:gd name="connsiteX19" fmla="*/ 2944782 w 3218787"/>
                <a:gd name="connsiteY19" fmla="*/ 1428534 h 3030456"/>
                <a:gd name="connsiteX20" fmla="*/ 3064955 w 3218787"/>
                <a:gd name="connsiteY20" fmla="*/ 1483622 h 3030456"/>
                <a:gd name="connsiteX21" fmla="*/ 3120051 w 3218787"/>
                <a:gd name="connsiteY21" fmla="*/ 1363443 h 3030456"/>
                <a:gd name="connsiteX22" fmla="*/ 3117363 w 3218787"/>
                <a:gd name="connsiteY22" fmla="*/ 1356967 h 3030456"/>
                <a:gd name="connsiteX23" fmla="*/ 2992207 w 3218787"/>
                <a:gd name="connsiteY23" fmla="*/ 1054949 h 3030456"/>
                <a:gd name="connsiteX24" fmla="*/ 3171124 w 3218787"/>
                <a:gd name="connsiteY24" fmla="*/ 876032 h 3030456"/>
                <a:gd name="connsiteX25" fmla="*/ 3176500 w 3218787"/>
                <a:gd name="connsiteY25" fmla="*/ 743938 h 3030456"/>
                <a:gd name="connsiteX26" fmla="*/ 3044410 w 3218787"/>
                <a:gd name="connsiteY26" fmla="*/ 738557 h 3030456"/>
                <a:gd name="connsiteX27" fmla="*/ 3038948 w 3218787"/>
                <a:gd name="connsiteY27" fmla="*/ 744027 h 3030456"/>
                <a:gd name="connsiteX28" fmla="*/ 2825960 w 3218787"/>
                <a:gd name="connsiteY28" fmla="*/ 957015 h 3030456"/>
                <a:gd name="connsiteX29" fmla="*/ 2825960 w 3218787"/>
                <a:gd name="connsiteY29" fmla="*/ 316510 h 3030456"/>
                <a:gd name="connsiteX30" fmla="*/ 2803189 w 3218787"/>
                <a:gd name="connsiteY30" fmla="*/ 201798 h 3030456"/>
                <a:gd name="connsiteX31" fmla="*/ 2532503 w 3218787"/>
                <a:gd name="connsiteY31" fmla="*/ 23053 h 3030456"/>
                <a:gd name="connsiteX32" fmla="*/ 2421557 w 3218787"/>
                <a:gd name="connsiteY32" fmla="*/ 45653 h 3030456"/>
                <a:gd name="connsiteX33" fmla="*/ 2328076 w 3218787"/>
                <a:gd name="connsiteY33" fmla="*/ 108659 h 3030456"/>
                <a:gd name="connsiteX34" fmla="*/ 1853647 w 3218787"/>
                <a:gd name="connsiteY34" fmla="*/ 583602 h 3030456"/>
                <a:gd name="connsiteX35" fmla="*/ 1182153 w 3218787"/>
                <a:gd name="connsiteY35" fmla="*/ 583602 h 3030456"/>
                <a:gd name="connsiteX36" fmla="*/ 707724 w 3218787"/>
                <a:gd name="connsiteY36" fmla="*/ 108659 h 3030456"/>
                <a:gd name="connsiteX37" fmla="*/ 613557 w 3218787"/>
                <a:gd name="connsiteY37" fmla="*/ 45139 h 3030456"/>
                <a:gd name="connsiteX38" fmla="*/ 503297 w 3218787"/>
                <a:gd name="connsiteY38" fmla="*/ 23053 h 3030456"/>
                <a:gd name="connsiteX39" fmla="*/ 296130 w 3218787"/>
                <a:gd name="connsiteY39" fmla="*/ 108659 h 3030456"/>
                <a:gd name="connsiteX40" fmla="*/ 233295 w 3218787"/>
                <a:gd name="connsiteY40" fmla="*/ 201285 h 3030456"/>
                <a:gd name="connsiteX41" fmla="*/ 210010 w 3218787"/>
                <a:gd name="connsiteY41" fmla="*/ 315826 h 3030456"/>
                <a:gd name="connsiteX42" fmla="*/ 210010 w 3218787"/>
                <a:gd name="connsiteY42" fmla="*/ 957358 h 3030456"/>
                <a:gd name="connsiteX43" fmla="*/ 120614 w 3218787"/>
                <a:gd name="connsiteY43" fmla="*/ 1054754 h 3030456"/>
                <a:gd name="connsiteX44" fmla="*/ 210010 w 3218787"/>
                <a:gd name="connsiteY44" fmla="*/ 1144151 h 3030456"/>
                <a:gd name="connsiteX45" fmla="*/ 210010 w 3218787"/>
                <a:gd name="connsiteY45" fmla="*/ 1666690 h 3030456"/>
                <a:gd name="connsiteX46" fmla="*/ 23047 w 3218787"/>
                <a:gd name="connsiteY46" fmla="*/ 1853654 h 3030456"/>
                <a:gd name="connsiteX47" fmla="*/ 23047 w 3218787"/>
                <a:gd name="connsiteY47" fmla="*/ 1891492 h 3030456"/>
                <a:gd name="connsiteX48" fmla="*/ 63624 w 3218787"/>
                <a:gd name="connsiteY48" fmla="*/ 2188716 h 3030456"/>
                <a:gd name="connsiteX49" fmla="*/ 176453 w 3218787"/>
                <a:gd name="connsiteY49" fmla="*/ 2455808 h 3030456"/>
                <a:gd name="connsiteX50" fmla="*/ 396803 w 3218787"/>
                <a:gd name="connsiteY50" fmla="*/ 315654 h 3030456"/>
                <a:gd name="connsiteX51" fmla="*/ 428135 w 3218787"/>
                <a:gd name="connsiteY51" fmla="*/ 240492 h 3030456"/>
                <a:gd name="connsiteX52" fmla="*/ 503297 w 3218787"/>
                <a:gd name="connsiteY52" fmla="*/ 210530 h 3030456"/>
                <a:gd name="connsiteX53" fmla="*/ 574863 w 3218787"/>
                <a:gd name="connsiteY53" fmla="*/ 241177 h 3030456"/>
                <a:gd name="connsiteX54" fmla="*/ 1105621 w 3218787"/>
                <a:gd name="connsiteY54" fmla="*/ 771935 h 3030456"/>
                <a:gd name="connsiteX55" fmla="*/ 1929836 w 3218787"/>
                <a:gd name="connsiteY55" fmla="*/ 771935 h 3030456"/>
                <a:gd name="connsiteX56" fmla="*/ 2459567 w 3218787"/>
                <a:gd name="connsiteY56" fmla="*/ 243574 h 3030456"/>
                <a:gd name="connsiteX57" fmla="*/ 2493809 w 3218787"/>
                <a:gd name="connsiteY57" fmla="*/ 220118 h 3030456"/>
                <a:gd name="connsiteX58" fmla="*/ 2533188 w 3218787"/>
                <a:gd name="connsiteY58" fmla="*/ 211386 h 3030456"/>
                <a:gd name="connsiteX59" fmla="*/ 2608350 w 3218787"/>
                <a:gd name="connsiteY59" fmla="*/ 242033 h 3030456"/>
                <a:gd name="connsiteX60" fmla="*/ 2639682 w 3218787"/>
                <a:gd name="connsiteY60" fmla="*/ 318051 h 3030456"/>
                <a:gd name="connsiteX61" fmla="*/ 2639682 w 3218787"/>
                <a:gd name="connsiteY61" fmla="*/ 957187 h 3030456"/>
                <a:gd name="connsiteX62" fmla="*/ 396803 w 3218787"/>
                <a:gd name="connsiteY62" fmla="*/ 957187 h 3030456"/>
                <a:gd name="connsiteX63" fmla="*/ 396803 w 3218787"/>
                <a:gd name="connsiteY63" fmla="*/ 1744763 h 3030456"/>
                <a:gd name="connsiteX64" fmla="*/ 396803 w 3218787"/>
                <a:gd name="connsiteY64" fmla="*/ 1145520 h 3030456"/>
                <a:gd name="connsiteX65" fmla="*/ 2639682 w 3218787"/>
                <a:gd name="connsiteY65" fmla="*/ 1145520 h 3030456"/>
                <a:gd name="connsiteX66" fmla="*/ 2639682 w 3218787"/>
                <a:gd name="connsiteY66" fmla="*/ 1744763 h 3030456"/>
                <a:gd name="connsiteX67" fmla="*/ 2825104 w 3218787"/>
                <a:gd name="connsiteY67" fmla="*/ 1930186 h 3030456"/>
                <a:gd name="connsiteX68" fmla="*/ 2790006 w 3218787"/>
                <a:gd name="connsiteY68" fmla="*/ 2148482 h 3030456"/>
                <a:gd name="connsiteX69" fmla="*/ 2706112 w 3218787"/>
                <a:gd name="connsiteY69" fmla="*/ 2349827 h 3030456"/>
                <a:gd name="connsiteX70" fmla="*/ 2577703 w 3218787"/>
                <a:gd name="connsiteY70" fmla="*/ 2526518 h 3030456"/>
                <a:gd name="connsiteX71" fmla="*/ 2409059 w 3218787"/>
                <a:gd name="connsiteY71" fmla="*/ 2670336 h 3030456"/>
                <a:gd name="connsiteX72" fmla="*/ 1892341 w 3218787"/>
                <a:gd name="connsiteY72" fmla="*/ 2826482 h 3030456"/>
                <a:gd name="connsiteX73" fmla="*/ 1767527 w 3218787"/>
                <a:gd name="connsiteY73" fmla="*/ 2806793 h 3030456"/>
                <a:gd name="connsiteX74" fmla="*/ 1671819 w 3218787"/>
                <a:gd name="connsiteY74" fmla="*/ 2753546 h 3030456"/>
                <a:gd name="connsiteX75" fmla="*/ 1593062 w 3218787"/>
                <a:gd name="connsiteY75" fmla="*/ 2673932 h 3030456"/>
                <a:gd name="connsiteX76" fmla="*/ 1534507 w 3218787"/>
                <a:gd name="connsiteY76" fmla="*/ 2597058 h 3030456"/>
                <a:gd name="connsiteX77" fmla="*/ 1501806 w 3218787"/>
                <a:gd name="connsiteY77" fmla="*/ 2597058 h 3030456"/>
                <a:gd name="connsiteX78" fmla="*/ 1443251 w 3218787"/>
                <a:gd name="connsiteY78" fmla="*/ 2673932 h 3030456"/>
                <a:gd name="connsiteX79" fmla="*/ 1364494 w 3218787"/>
                <a:gd name="connsiteY79" fmla="*/ 2753546 h 3030456"/>
                <a:gd name="connsiteX80" fmla="*/ 1268786 w 3218787"/>
                <a:gd name="connsiteY80" fmla="*/ 2806793 h 3030456"/>
                <a:gd name="connsiteX81" fmla="*/ 1143972 w 3218787"/>
                <a:gd name="connsiteY81" fmla="*/ 2826482 h 3030456"/>
                <a:gd name="connsiteX82" fmla="*/ 459124 w 3218787"/>
                <a:gd name="connsiteY82" fmla="*/ 2526518 h 3030456"/>
                <a:gd name="connsiteX83" fmla="*/ 330715 w 3218787"/>
                <a:gd name="connsiteY83" fmla="*/ 2349827 h 3030456"/>
                <a:gd name="connsiteX84" fmla="*/ 246821 w 3218787"/>
                <a:gd name="connsiteY84" fmla="*/ 2148482 h 3030456"/>
                <a:gd name="connsiteX85" fmla="*/ 211722 w 3218787"/>
                <a:gd name="connsiteY85" fmla="*/ 1930186 h 30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218787" h="3030456">
                  <a:moveTo>
                    <a:pt x="176453" y="2455808"/>
                  </a:moveTo>
                  <a:cubicBezTo>
                    <a:pt x="224906" y="2538828"/>
                    <a:pt x="284020" y="2615155"/>
                    <a:pt x="352288" y="2682835"/>
                  </a:cubicBezTo>
                  <a:cubicBezTo>
                    <a:pt x="420581" y="2750687"/>
                    <a:pt x="497077" y="2809755"/>
                    <a:pt x="580000" y="2858670"/>
                  </a:cubicBezTo>
                  <a:cubicBezTo>
                    <a:pt x="663967" y="2908150"/>
                    <a:pt x="754047" y="2946416"/>
                    <a:pt x="847947" y="2972526"/>
                  </a:cubicBezTo>
                  <a:cubicBezTo>
                    <a:pt x="944373" y="2999441"/>
                    <a:pt x="1044036" y="3012967"/>
                    <a:pt x="1144144" y="3012761"/>
                  </a:cubicBezTo>
                  <a:cubicBezTo>
                    <a:pt x="1212834" y="3013001"/>
                    <a:pt x="1280959" y="3000331"/>
                    <a:pt x="1344975" y="2975437"/>
                  </a:cubicBezTo>
                  <a:cubicBezTo>
                    <a:pt x="1408735" y="2950594"/>
                    <a:pt x="1467341" y="2914194"/>
                    <a:pt x="1517900" y="2868087"/>
                  </a:cubicBezTo>
                  <a:cubicBezTo>
                    <a:pt x="1568459" y="2914194"/>
                    <a:pt x="1627065" y="2950594"/>
                    <a:pt x="1690824" y="2975437"/>
                  </a:cubicBezTo>
                  <a:cubicBezTo>
                    <a:pt x="1754840" y="3000331"/>
                    <a:pt x="1822965" y="3012984"/>
                    <a:pt x="1891656" y="3012761"/>
                  </a:cubicBezTo>
                  <a:cubicBezTo>
                    <a:pt x="1991815" y="3012984"/>
                    <a:pt x="2091546" y="2999441"/>
                    <a:pt x="2188024" y="2972526"/>
                  </a:cubicBezTo>
                  <a:cubicBezTo>
                    <a:pt x="2281797" y="2946502"/>
                    <a:pt x="2371803" y="2908476"/>
                    <a:pt x="2455800" y="2859355"/>
                  </a:cubicBezTo>
                  <a:cubicBezTo>
                    <a:pt x="2538941" y="2810919"/>
                    <a:pt x="2615387" y="2751816"/>
                    <a:pt x="2683170" y="2683520"/>
                  </a:cubicBezTo>
                  <a:cubicBezTo>
                    <a:pt x="2751021" y="2615223"/>
                    <a:pt x="2810089" y="2538726"/>
                    <a:pt x="2859004" y="2455808"/>
                  </a:cubicBezTo>
                  <a:cubicBezTo>
                    <a:pt x="2908485" y="2371845"/>
                    <a:pt x="2946751" y="2281753"/>
                    <a:pt x="2972860" y="2187860"/>
                  </a:cubicBezTo>
                  <a:cubicBezTo>
                    <a:pt x="2999860" y="2091399"/>
                    <a:pt x="3013403" y="1991668"/>
                    <a:pt x="3013095" y="1891492"/>
                  </a:cubicBezTo>
                  <a:lnTo>
                    <a:pt x="3013095" y="1853654"/>
                  </a:lnTo>
                  <a:lnTo>
                    <a:pt x="2825960" y="1666690"/>
                  </a:lnTo>
                  <a:lnTo>
                    <a:pt x="2825960" y="1144151"/>
                  </a:lnTo>
                  <a:lnTo>
                    <a:pt x="2826988" y="1144151"/>
                  </a:lnTo>
                  <a:lnTo>
                    <a:pt x="2944782" y="1428534"/>
                  </a:lnTo>
                  <a:cubicBezTo>
                    <a:pt x="2962759" y="1476932"/>
                    <a:pt x="3016571" y="1501595"/>
                    <a:pt x="3064955" y="1483622"/>
                  </a:cubicBezTo>
                  <a:cubicBezTo>
                    <a:pt x="3113357" y="1465646"/>
                    <a:pt x="3138029" y="1411841"/>
                    <a:pt x="3120051" y="1363443"/>
                  </a:cubicBezTo>
                  <a:cubicBezTo>
                    <a:pt x="3119230" y="1361251"/>
                    <a:pt x="3118340" y="1359090"/>
                    <a:pt x="3117363" y="1356967"/>
                  </a:cubicBezTo>
                  <a:lnTo>
                    <a:pt x="2992207" y="1054949"/>
                  </a:lnTo>
                  <a:lnTo>
                    <a:pt x="3171124" y="876032"/>
                  </a:lnTo>
                  <a:cubicBezTo>
                    <a:pt x="3209082" y="841041"/>
                    <a:pt x="3211496" y="781901"/>
                    <a:pt x="3176500" y="743938"/>
                  </a:cubicBezTo>
                  <a:cubicBezTo>
                    <a:pt x="3141521" y="705976"/>
                    <a:pt x="3082368" y="703567"/>
                    <a:pt x="3044410" y="738557"/>
                  </a:cubicBezTo>
                  <a:cubicBezTo>
                    <a:pt x="3042510" y="740305"/>
                    <a:pt x="3040695" y="742129"/>
                    <a:pt x="3038948" y="744027"/>
                  </a:cubicBezTo>
                  <a:lnTo>
                    <a:pt x="2825960" y="957015"/>
                  </a:lnTo>
                  <a:lnTo>
                    <a:pt x="2825960" y="316510"/>
                  </a:lnTo>
                  <a:cubicBezTo>
                    <a:pt x="2826286" y="277120"/>
                    <a:pt x="2818530" y="238078"/>
                    <a:pt x="2803189" y="201798"/>
                  </a:cubicBezTo>
                  <a:cubicBezTo>
                    <a:pt x="2757595" y="92800"/>
                    <a:pt x="2650639" y="22174"/>
                    <a:pt x="2532503" y="23053"/>
                  </a:cubicBezTo>
                  <a:cubicBezTo>
                    <a:pt x="2494357" y="22872"/>
                    <a:pt x="2456588" y="30566"/>
                    <a:pt x="2421557" y="45653"/>
                  </a:cubicBezTo>
                  <a:cubicBezTo>
                    <a:pt x="2386665" y="60488"/>
                    <a:pt x="2354922" y="81876"/>
                    <a:pt x="2328076" y="108659"/>
                  </a:cubicBezTo>
                  <a:lnTo>
                    <a:pt x="1853647" y="583602"/>
                  </a:lnTo>
                  <a:lnTo>
                    <a:pt x="1182153" y="583602"/>
                  </a:lnTo>
                  <a:lnTo>
                    <a:pt x="707724" y="108659"/>
                  </a:lnTo>
                  <a:cubicBezTo>
                    <a:pt x="680763" y="81565"/>
                    <a:pt x="648777" y="59989"/>
                    <a:pt x="613557" y="45139"/>
                  </a:cubicBezTo>
                  <a:cubicBezTo>
                    <a:pt x="578681" y="30376"/>
                    <a:pt x="541167" y="22862"/>
                    <a:pt x="503297" y="23053"/>
                  </a:cubicBezTo>
                  <a:cubicBezTo>
                    <a:pt x="425560" y="22671"/>
                    <a:pt x="350923" y="53513"/>
                    <a:pt x="296130" y="108659"/>
                  </a:cubicBezTo>
                  <a:cubicBezTo>
                    <a:pt x="269493" y="135263"/>
                    <a:pt x="248167" y="166698"/>
                    <a:pt x="233295" y="201285"/>
                  </a:cubicBezTo>
                  <a:cubicBezTo>
                    <a:pt x="217600" y="237414"/>
                    <a:pt x="209666" y="276436"/>
                    <a:pt x="210010" y="315826"/>
                  </a:cubicBezTo>
                  <a:lnTo>
                    <a:pt x="210010" y="957358"/>
                  </a:lnTo>
                  <a:cubicBezTo>
                    <a:pt x="158429" y="959567"/>
                    <a:pt x="118405" y="1003173"/>
                    <a:pt x="120614" y="1054754"/>
                  </a:cubicBezTo>
                  <a:cubicBezTo>
                    <a:pt x="122690" y="1103239"/>
                    <a:pt x="161525" y="1142074"/>
                    <a:pt x="210010" y="1144151"/>
                  </a:cubicBezTo>
                  <a:lnTo>
                    <a:pt x="210010" y="1666690"/>
                  </a:lnTo>
                  <a:lnTo>
                    <a:pt x="23047" y="1853654"/>
                  </a:lnTo>
                  <a:lnTo>
                    <a:pt x="23047" y="1891492"/>
                  </a:lnTo>
                  <a:cubicBezTo>
                    <a:pt x="22843" y="1991959"/>
                    <a:pt x="36497" y="2091981"/>
                    <a:pt x="63624" y="2188716"/>
                  </a:cubicBezTo>
                  <a:cubicBezTo>
                    <a:pt x="89629" y="2282216"/>
                    <a:pt x="127549" y="2371982"/>
                    <a:pt x="176453" y="2455808"/>
                  </a:cubicBezTo>
                  <a:close/>
                  <a:moveTo>
                    <a:pt x="396803" y="315654"/>
                  </a:moveTo>
                  <a:cubicBezTo>
                    <a:pt x="396087" y="287286"/>
                    <a:pt x="407481" y="259954"/>
                    <a:pt x="428135" y="240492"/>
                  </a:cubicBezTo>
                  <a:cubicBezTo>
                    <a:pt x="448230" y="220941"/>
                    <a:pt x="475262" y="210165"/>
                    <a:pt x="503297" y="210530"/>
                  </a:cubicBezTo>
                  <a:cubicBezTo>
                    <a:pt x="530362" y="210417"/>
                    <a:pt x="556268" y="221512"/>
                    <a:pt x="574863" y="241177"/>
                  </a:cubicBezTo>
                  <a:lnTo>
                    <a:pt x="1105621" y="771935"/>
                  </a:lnTo>
                  <a:lnTo>
                    <a:pt x="1929836" y="771935"/>
                  </a:lnTo>
                  <a:lnTo>
                    <a:pt x="2459567" y="243574"/>
                  </a:lnTo>
                  <a:cubicBezTo>
                    <a:pt x="2469531" y="233823"/>
                    <a:pt x="2481122" y="225886"/>
                    <a:pt x="2493809" y="220118"/>
                  </a:cubicBezTo>
                  <a:cubicBezTo>
                    <a:pt x="2506136" y="214345"/>
                    <a:pt x="2519576" y="211364"/>
                    <a:pt x="2533188" y="211386"/>
                  </a:cubicBezTo>
                  <a:cubicBezTo>
                    <a:pt x="2561352" y="211011"/>
                    <a:pt x="2588472" y="222068"/>
                    <a:pt x="2608350" y="242033"/>
                  </a:cubicBezTo>
                  <a:cubicBezTo>
                    <a:pt x="2628930" y="261906"/>
                    <a:pt x="2640281" y="289455"/>
                    <a:pt x="2639682" y="318051"/>
                  </a:cubicBezTo>
                  <a:lnTo>
                    <a:pt x="2639682" y="957187"/>
                  </a:lnTo>
                  <a:lnTo>
                    <a:pt x="396803" y="957187"/>
                  </a:lnTo>
                  <a:close/>
                  <a:moveTo>
                    <a:pt x="396803" y="1744763"/>
                  </a:moveTo>
                  <a:lnTo>
                    <a:pt x="396803" y="1145520"/>
                  </a:lnTo>
                  <a:lnTo>
                    <a:pt x="2639682" y="1145520"/>
                  </a:lnTo>
                  <a:lnTo>
                    <a:pt x="2639682" y="1744763"/>
                  </a:lnTo>
                  <a:lnTo>
                    <a:pt x="2825104" y="1930186"/>
                  </a:lnTo>
                  <a:cubicBezTo>
                    <a:pt x="2822399" y="2004115"/>
                    <a:pt x="2810603" y="2077428"/>
                    <a:pt x="2790006" y="2148482"/>
                  </a:cubicBezTo>
                  <a:cubicBezTo>
                    <a:pt x="2769837" y="2218593"/>
                    <a:pt x="2741690" y="2286136"/>
                    <a:pt x="2706112" y="2349827"/>
                  </a:cubicBezTo>
                  <a:cubicBezTo>
                    <a:pt x="2670654" y="2413724"/>
                    <a:pt x="2627526" y="2473049"/>
                    <a:pt x="2577703" y="2526518"/>
                  </a:cubicBezTo>
                  <a:cubicBezTo>
                    <a:pt x="2527230" y="2580810"/>
                    <a:pt x="2470644" y="2629075"/>
                    <a:pt x="2409059" y="2670336"/>
                  </a:cubicBezTo>
                  <a:cubicBezTo>
                    <a:pt x="2409059" y="2670336"/>
                    <a:pt x="2208912" y="2826482"/>
                    <a:pt x="1892341" y="2826482"/>
                  </a:cubicBezTo>
                  <a:cubicBezTo>
                    <a:pt x="1849897" y="2827373"/>
                    <a:pt x="1807625" y="2820712"/>
                    <a:pt x="1767527" y="2806793"/>
                  </a:cubicBezTo>
                  <a:cubicBezTo>
                    <a:pt x="1732994" y="2794243"/>
                    <a:pt x="1700686" y="2776283"/>
                    <a:pt x="1671819" y="2753546"/>
                  </a:cubicBezTo>
                  <a:cubicBezTo>
                    <a:pt x="1642645" y="2730055"/>
                    <a:pt x="1616227" y="2703363"/>
                    <a:pt x="1593062" y="2673932"/>
                  </a:cubicBezTo>
                  <a:cubicBezTo>
                    <a:pt x="1573886" y="2649791"/>
                    <a:pt x="1554368" y="2623938"/>
                    <a:pt x="1534507" y="2597058"/>
                  </a:cubicBezTo>
                  <a:lnTo>
                    <a:pt x="1501806" y="2597058"/>
                  </a:lnTo>
                  <a:cubicBezTo>
                    <a:pt x="1482117" y="2623938"/>
                    <a:pt x="1462427" y="2649791"/>
                    <a:pt x="1443251" y="2673932"/>
                  </a:cubicBezTo>
                  <a:cubicBezTo>
                    <a:pt x="1420138" y="2703398"/>
                    <a:pt x="1393703" y="2730107"/>
                    <a:pt x="1364494" y="2753546"/>
                  </a:cubicBezTo>
                  <a:cubicBezTo>
                    <a:pt x="1335627" y="2776283"/>
                    <a:pt x="1303320" y="2794243"/>
                    <a:pt x="1268786" y="2806793"/>
                  </a:cubicBezTo>
                  <a:cubicBezTo>
                    <a:pt x="1228688" y="2820712"/>
                    <a:pt x="1186416" y="2827373"/>
                    <a:pt x="1143972" y="2826482"/>
                  </a:cubicBezTo>
                  <a:cubicBezTo>
                    <a:pt x="883850" y="2826362"/>
                    <a:pt x="635594" y="2717625"/>
                    <a:pt x="459124" y="2526518"/>
                  </a:cubicBezTo>
                  <a:cubicBezTo>
                    <a:pt x="409407" y="2472963"/>
                    <a:pt x="366296" y="2413655"/>
                    <a:pt x="330715" y="2349827"/>
                  </a:cubicBezTo>
                  <a:cubicBezTo>
                    <a:pt x="295206" y="2286102"/>
                    <a:pt x="267060" y="2218559"/>
                    <a:pt x="246821" y="2148482"/>
                  </a:cubicBezTo>
                  <a:cubicBezTo>
                    <a:pt x="226222" y="2077428"/>
                    <a:pt x="214434" y="2004115"/>
                    <a:pt x="211722" y="1930186"/>
                  </a:cubicBezTo>
                  <a:close/>
                </a:path>
              </a:pathLst>
            </a:custGeom>
            <a:solidFill>
              <a:srgbClr val="F2F2F2"/>
            </a:solidFill>
            <a:ln w="17094"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spTree>
    <p:extLst>
      <p:ext uri="{BB962C8B-B14F-4D97-AF65-F5344CB8AC3E}">
        <p14:creationId xmlns:p14="http://schemas.microsoft.com/office/powerpoint/2010/main" val="398023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par>
                                <p:cTn id="17" presetID="2" presetClass="entr" presetSubtype="4" decel="100000" fill="hold" nodeType="withEffect">
                                  <p:stCondLst>
                                    <p:cond delay="125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000" fill="hold"/>
                                        <p:tgtEl>
                                          <p:spTgt spid="34"/>
                                        </p:tgtEl>
                                        <p:attrNameLst>
                                          <p:attrName>ppt_x</p:attrName>
                                        </p:attrNameLst>
                                      </p:cBhvr>
                                      <p:tavLst>
                                        <p:tav tm="0">
                                          <p:val>
                                            <p:strVal val="#ppt_x"/>
                                          </p:val>
                                        </p:tav>
                                        <p:tav tm="100000">
                                          <p:val>
                                            <p:strVal val="#ppt_x"/>
                                          </p:val>
                                        </p:tav>
                                      </p:tavLst>
                                    </p:anim>
                                    <p:anim calcmode="lin" valueType="num">
                                      <p:cBhvr additive="base">
                                        <p:cTn id="20" dur="1000" fill="hold"/>
                                        <p:tgtEl>
                                          <p:spTgt spid="3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32" presetClass="emph" presetSubtype="0" fill="hold" nodeType="afterEffect">
                                  <p:stCondLst>
                                    <p:cond delay="0"/>
                                  </p:stCondLst>
                                  <p:childTnLst>
                                    <p:animRot by="120000">
                                      <p:cBhvr>
                                        <p:cTn id="23" dur="100" fill="hold">
                                          <p:stCondLst>
                                            <p:cond delay="0"/>
                                          </p:stCondLst>
                                        </p:cTn>
                                        <p:tgtEl>
                                          <p:spTgt spid="34"/>
                                        </p:tgtEl>
                                        <p:attrNameLst>
                                          <p:attrName>r</p:attrName>
                                        </p:attrNameLst>
                                      </p:cBhvr>
                                    </p:animRot>
                                    <p:animRot by="-240000">
                                      <p:cBhvr>
                                        <p:cTn id="24" dur="200" fill="hold">
                                          <p:stCondLst>
                                            <p:cond delay="200"/>
                                          </p:stCondLst>
                                        </p:cTn>
                                        <p:tgtEl>
                                          <p:spTgt spid="34"/>
                                        </p:tgtEl>
                                        <p:attrNameLst>
                                          <p:attrName>r</p:attrName>
                                        </p:attrNameLst>
                                      </p:cBhvr>
                                    </p:animRot>
                                    <p:animRot by="240000">
                                      <p:cBhvr>
                                        <p:cTn id="25" dur="200" fill="hold">
                                          <p:stCondLst>
                                            <p:cond delay="400"/>
                                          </p:stCondLst>
                                        </p:cTn>
                                        <p:tgtEl>
                                          <p:spTgt spid="34"/>
                                        </p:tgtEl>
                                        <p:attrNameLst>
                                          <p:attrName>r</p:attrName>
                                        </p:attrNameLst>
                                      </p:cBhvr>
                                    </p:animRot>
                                    <p:animRot by="-240000">
                                      <p:cBhvr>
                                        <p:cTn id="26" dur="200" fill="hold">
                                          <p:stCondLst>
                                            <p:cond delay="600"/>
                                          </p:stCondLst>
                                        </p:cTn>
                                        <p:tgtEl>
                                          <p:spTgt spid="34"/>
                                        </p:tgtEl>
                                        <p:attrNameLst>
                                          <p:attrName>r</p:attrName>
                                        </p:attrNameLst>
                                      </p:cBhvr>
                                    </p:animRot>
                                    <p:animRot by="120000">
                                      <p:cBhvr>
                                        <p:cTn id="27" dur="200" fill="hold">
                                          <p:stCondLst>
                                            <p:cond delay="800"/>
                                          </p:stCondLst>
                                        </p:cTn>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94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163555"/>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25530CD-2927-405B-8540-946D84B92B32}"/>
              </a:ext>
            </a:extLst>
          </p:cNvPr>
          <p:cNvGrpSpPr/>
          <p:nvPr userDrawn="1"/>
        </p:nvGrpSpPr>
        <p:grpSpPr>
          <a:xfrm>
            <a:off x="516000" y="1584000"/>
            <a:ext cx="3218788" cy="3030457"/>
            <a:chOff x="3761921" y="345947"/>
            <a:chExt cx="3218788" cy="3030457"/>
          </a:xfrm>
        </p:grpSpPr>
        <p:sp>
          <p:nvSpPr>
            <p:cNvPr id="30" name="Freeform: Shape 29">
              <a:extLst>
                <a:ext uri="{FF2B5EF4-FFF2-40B4-BE49-F238E27FC236}">
                  <a16:creationId xmlns:a16="http://schemas.microsoft.com/office/drawing/2014/main" id="{35171C49-DA46-43BC-BA65-48D139B65357}"/>
                </a:ext>
              </a:extLst>
            </p:cNvPr>
            <p:cNvSpPr/>
            <p:nvPr/>
          </p:nvSpPr>
          <p:spPr>
            <a:xfrm>
              <a:off x="4941297" y="2294351"/>
              <a:ext cx="667727" cy="479394"/>
            </a:xfrm>
            <a:custGeom>
              <a:avLst/>
              <a:gdLst>
                <a:gd name="connsiteX0" fmla="*/ 206349 w 667727"/>
                <a:gd name="connsiteY0" fmla="*/ 393205 h 479394"/>
                <a:gd name="connsiteX1" fmla="*/ 245042 w 667727"/>
                <a:gd name="connsiteY1" fmla="*/ 432071 h 479394"/>
                <a:gd name="connsiteX2" fmla="*/ 432006 w 667727"/>
                <a:gd name="connsiteY2" fmla="*/ 432071 h 479394"/>
                <a:gd name="connsiteX3" fmla="*/ 470700 w 667727"/>
                <a:gd name="connsiteY3" fmla="*/ 393205 h 479394"/>
                <a:gd name="connsiteX4" fmla="*/ 615374 w 667727"/>
                <a:gd name="connsiteY4" fmla="*/ 248702 h 479394"/>
                <a:gd name="connsiteX5" fmla="*/ 615374 w 667727"/>
                <a:gd name="connsiteY5" fmla="*/ 61738 h 479394"/>
                <a:gd name="connsiteX6" fmla="*/ 615374 w 667727"/>
                <a:gd name="connsiteY6" fmla="*/ 61738 h 479394"/>
                <a:gd name="connsiteX7" fmla="*/ 521892 w 667727"/>
                <a:gd name="connsiteY7" fmla="*/ 23044 h 479394"/>
                <a:gd name="connsiteX8" fmla="*/ 155156 w 667727"/>
                <a:gd name="connsiteY8" fmla="*/ 23044 h 479394"/>
                <a:gd name="connsiteX9" fmla="*/ 61846 w 667727"/>
                <a:gd name="connsiteY9" fmla="*/ 61738 h 479394"/>
                <a:gd name="connsiteX10" fmla="*/ 61846 w 667727"/>
                <a:gd name="connsiteY10" fmla="*/ 61738 h 479394"/>
                <a:gd name="connsiteX11" fmla="*/ 61572 w 667727"/>
                <a:gd name="connsiteY11" fmla="*/ 248428 h 479394"/>
                <a:gd name="connsiteX12" fmla="*/ 61846 w 667727"/>
                <a:gd name="connsiteY12" fmla="*/ 248702 h 4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27" h="479394">
                  <a:moveTo>
                    <a:pt x="206349" y="393205"/>
                  </a:moveTo>
                  <a:lnTo>
                    <a:pt x="245042" y="432071"/>
                  </a:lnTo>
                  <a:cubicBezTo>
                    <a:pt x="296697" y="483623"/>
                    <a:pt x="380351" y="483623"/>
                    <a:pt x="432006" y="432071"/>
                  </a:cubicBezTo>
                  <a:lnTo>
                    <a:pt x="470700" y="393205"/>
                  </a:lnTo>
                  <a:lnTo>
                    <a:pt x="615374" y="248702"/>
                  </a:lnTo>
                  <a:cubicBezTo>
                    <a:pt x="666926" y="197047"/>
                    <a:pt x="666926" y="113393"/>
                    <a:pt x="615374" y="61738"/>
                  </a:cubicBezTo>
                  <a:lnTo>
                    <a:pt x="615374" y="61738"/>
                  </a:lnTo>
                  <a:cubicBezTo>
                    <a:pt x="590549" y="36998"/>
                    <a:pt x="556940" y="23096"/>
                    <a:pt x="521892" y="23044"/>
                  </a:cubicBezTo>
                  <a:lnTo>
                    <a:pt x="155156" y="23044"/>
                  </a:lnTo>
                  <a:cubicBezTo>
                    <a:pt x="120160" y="23096"/>
                    <a:pt x="86603" y="37015"/>
                    <a:pt x="61846" y="61738"/>
                  </a:cubicBezTo>
                  <a:lnTo>
                    <a:pt x="61846" y="61738"/>
                  </a:lnTo>
                  <a:cubicBezTo>
                    <a:pt x="10225" y="113205"/>
                    <a:pt x="10088" y="196791"/>
                    <a:pt x="61572" y="248428"/>
                  </a:cubicBezTo>
                  <a:cubicBezTo>
                    <a:pt x="61657" y="248514"/>
                    <a:pt x="61760" y="248617"/>
                    <a:pt x="61846" y="248702"/>
                  </a:cubicBezTo>
                  <a:close/>
                </a:path>
              </a:pathLst>
            </a:custGeom>
            <a:solidFill>
              <a:srgbClr val="F2F2F2"/>
            </a:solidFill>
            <a:ln w="1709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1EEE446-1301-4D3F-99D2-C4E33545148F}"/>
                </a:ext>
              </a:extLst>
            </p:cNvPr>
            <p:cNvSpPr/>
            <p:nvPr/>
          </p:nvSpPr>
          <p:spPr>
            <a:xfrm>
              <a:off x="4509436"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2999"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9C266F5-3238-471E-A266-415C76AF5011}"/>
                </a:ext>
              </a:extLst>
            </p:cNvPr>
            <p:cNvSpPr/>
            <p:nvPr/>
          </p:nvSpPr>
          <p:spPr>
            <a:xfrm>
              <a:off x="5630533"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3000"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6BAD0C-0046-4F32-B998-A9C095E49C2E}"/>
                </a:ext>
              </a:extLst>
            </p:cNvPr>
            <p:cNvSpPr/>
            <p:nvPr/>
          </p:nvSpPr>
          <p:spPr>
            <a:xfrm>
              <a:off x="3761921" y="345947"/>
              <a:ext cx="3218788" cy="3030457"/>
            </a:xfrm>
            <a:custGeom>
              <a:avLst/>
              <a:gdLst>
                <a:gd name="connsiteX0" fmla="*/ 176453 w 3218787"/>
                <a:gd name="connsiteY0" fmla="*/ 2455808 h 3030456"/>
                <a:gd name="connsiteX1" fmla="*/ 352288 w 3218787"/>
                <a:gd name="connsiteY1" fmla="*/ 2682835 h 3030456"/>
                <a:gd name="connsiteX2" fmla="*/ 580000 w 3218787"/>
                <a:gd name="connsiteY2" fmla="*/ 2858670 h 3030456"/>
                <a:gd name="connsiteX3" fmla="*/ 847947 w 3218787"/>
                <a:gd name="connsiteY3" fmla="*/ 2972526 h 3030456"/>
                <a:gd name="connsiteX4" fmla="*/ 1144144 w 3218787"/>
                <a:gd name="connsiteY4" fmla="*/ 3012761 h 3030456"/>
                <a:gd name="connsiteX5" fmla="*/ 1344975 w 3218787"/>
                <a:gd name="connsiteY5" fmla="*/ 2975437 h 3030456"/>
                <a:gd name="connsiteX6" fmla="*/ 1517900 w 3218787"/>
                <a:gd name="connsiteY6" fmla="*/ 2868087 h 3030456"/>
                <a:gd name="connsiteX7" fmla="*/ 1690824 w 3218787"/>
                <a:gd name="connsiteY7" fmla="*/ 2975437 h 3030456"/>
                <a:gd name="connsiteX8" fmla="*/ 1891656 w 3218787"/>
                <a:gd name="connsiteY8" fmla="*/ 3012761 h 3030456"/>
                <a:gd name="connsiteX9" fmla="*/ 2188024 w 3218787"/>
                <a:gd name="connsiteY9" fmla="*/ 2972526 h 3030456"/>
                <a:gd name="connsiteX10" fmla="*/ 2455800 w 3218787"/>
                <a:gd name="connsiteY10" fmla="*/ 2859355 h 3030456"/>
                <a:gd name="connsiteX11" fmla="*/ 2683170 w 3218787"/>
                <a:gd name="connsiteY11" fmla="*/ 2683520 h 3030456"/>
                <a:gd name="connsiteX12" fmla="*/ 2859004 w 3218787"/>
                <a:gd name="connsiteY12" fmla="*/ 2455808 h 3030456"/>
                <a:gd name="connsiteX13" fmla="*/ 2972860 w 3218787"/>
                <a:gd name="connsiteY13" fmla="*/ 2187860 h 3030456"/>
                <a:gd name="connsiteX14" fmla="*/ 3013095 w 3218787"/>
                <a:gd name="connsiteY14" fmla="*/ 1891492 h 3030456"/>
                <a:gd name="connsiteX15" fmla="*/ 3013095 w 3218787"/>
                <a:gd name="connsiteY15" fmla="*/ 1853654 h 3030456"/>
                <a:gd name="connsiteX16" fmla="*/ 2825960 w 3218787"/>
                <a:gd name="connsiteY16" fmla="*/ 1666690 h 3030456"/>
                <a:gd name="connsiteX17" fmla="*/ 2825960 w 3218787"/>
                <a:gd name="connsiteY17" fmla="*/ 1144151 h 3030456"/>
                <a:gd name="connsiteX18" fmla="*/ 2826988 w 3218787"/>
                <a:gd name="connsiteY18" fmla="*/ 1144151 h 3030456"/>
                <a:gd name="connsiteX19" fmla="*/ 2944782 w 3218787"/>
                <a:gd name="connsiteY19" fmla="*/ 1428534 h 3030456"/>
                <a:gd name="connsiteX20" fmla="*/ 3064955 w 3218787"/>
                <a:gd name="connsiteY20" fmla="*/ 1483622 h 3030456"/>
                <a:gd name="connsiteX21" fmla="*/ 3120051 w 3218787"/>
                <a:gd name="connsiteY21" fmla="*/ 1363443 h 3030456"/>
                <a:gd name="connsiteX22" fmla="*/ 3117363 w 3218787"/>
                <a:gd name="connsiteY22" fmla="*/ 1356967 h 3030456"/>
                <a:gd name="connsiteX23" fmla="*/ 2992207 w 3218787"/>
                <a:gd name="connsiteY23" fmla="*/ 1054949 h 3030456"/>
                <a:gd name="connsiteX24" fmla="*/ 3171124 w 3218787"/>
                <a:gd name="connsiteY24" fmla="*/ 876032 h 3030456"/>
                <a:gd name="connsiteX25" fmla="*/ 3176500 w 3218787"/>
                <a:gd name="connsiteY25" fmla="*/ 743938 h 3030456"/>
                <a:gd name="connsiteX26" fmla="*/ 3044410 w 3218787"/>
                <a:gd name="connsiteY26" fmla="*/ 738557 h 3030456"/>
                <a:gd name="connsiteX27" fmla="*/ 3038948 w 3218787"/>
                <a:gd name="connsiteY27" fmla="*/ 744027 h 3030456"/>
                <a:gd name="connsiteX28" fmla="*/ 2825960 w 3218787"/>
                <a:gd name="connsiteY28" fmla="*/ 957015 h 3030456"/>
                <a:gd name="connsiteX29" fmla="*/ 2825960 w 3218787"/>
                <a:gd name="connsiteY29" fmla="*/ 316510 h 3030456"/>
                <a:gd name="connsiteX30" fmla="*/ 2803189 w 3218787"/>
                <a:gd name="connsiteY30" fmla="*/ 201798 h 3030456"/>
                <a:gd name="connsiteX31" fmla="*/ 2532503 w 3218787"/>
                <a:gd name="connsiteY31" fmla="*/ 23053 h 3030456"/>
                <a:gd name="connsiteX32" fmla="*/ 2421557 w 3218787"/>
                <a:gd name="connsiteY32" fmla="*/ 45653 h 3030456"/>
                <a:gd name="connsiteX33" fmla="*/ 2328076 w 3218787"/>
                <a:gd name="connsiteY33" fmla="*/ 108659 h 3030456"/>
                <a:gd name="connsiteX34" fmla="*/ 1853647 w 3218787"/>
                <a:gd name="connsiteY34" fmla="*/ 583602 h 3030456"/>
                <a:gd name="connsiteX35" fmla="*/ 1182153 w 3218787"/>
                <a:gd name="connsiteY35" fmla="*/ 583602 h 3030456"/>
                <a:gd name="connsiteX36" fmla="*/ 707724 w 3218787"/>
                <a:gd name="connsiteY36" fmla="*/ 108659 h 3030456"/>
                <a:gd name="connsiteX37" fmla="*/ 613557 w 3218787"/>
                <a:gd name="connsiteY37" fmla="*/ 45139 h 3030456"/>
                <a:gd name="connsiteX38" fmla="*/ 503297 w 3218787"/>
                <a:gd name="connsiteY38" fmla="*/ 23053 h 3030456"/>
                <a:gd name="connsiteX39" fmla="*/ 296130 w 3218787"/>
                <a:gd name="connsiteY39" fmla="*/ 108659 h 3030456"/>
                <a:gd name="connsiteX40" fmla="*/ 233295 w 3218787"/>
                <a:gd name="connsiteY40" fmla="*/ 201285 h 3030456"/>
                <a:gd name="connsiteX41" fmla="*/ 210010 w 3218787"/>
                <a:gd name="connsiteY41" fmla="*/ 315826 h 3030456"/>
                <a:gd name="connsiteX42" fmla="*/ 210010 w 3218787"/>
                <a:gd name="connsiteY42" fmla="*/ 957358 h 3030456"/>
                <a:gd name="connsiteX43" fmla="*/ 120614 w 3218787"/>
                <a:gd name="connsiteY43" fmla="*/ 1054754 h 3030456"/>
                <a:gd name="connsiteX44" fmla="*/ 210010 w 3218787"/>
                <a:gd name="connsiteY44" fmla="*/ 1144151 h 3030456"/>
                <a:gd name="connsiteX45" fmla="*/ 210010 w 3218787"/>
                <a:gd name="connsiteY45" fmla="*/ 1666690 h 3030456"/>
                <a:gd name="connsiteX46" fmla="*/ 23047 w 3218787"/>
                <a:gd name="connsiteY46" fmla="*/ 1853654 h 3030456"/>
                <a:gd name="connsiteX47" fmla="*/ 23047 w 3218787"/>
                <a:gd name="connsiteY47" fmla="*/ 1891492 h 3030456"/>
                <a:gd name="connsiteX48" fmla="*/ 63624 w 3218787"/>
                <a:gd name="connsiteY48" fmla="*/ 2188716 h 3030456"/>
                <a:gd name="connsiteX49" fmla="*/ 176453 w 3218787"/>
                <a:gd name="connsiteY49" fmla="*/ 2455808 h 3030456"/>
                <a:gd name="connsiteX50" fmla="*/ 396803 w 3218787"/>
                <a:gd name="connsiteY50" fmla="*/ 315654 h 3030456"/>
                <a:gd name="connsiteX51" fmla="*/ 428135 w 3218787"/>
                <a:gd name="connsiteY51" fmla="*/ 240492 h 3030456"/>
                <a:gd name="connsiteX52" fmla="*/ 503297 w 3218787"/>
                <a:gd name="connsiteY52" fmla="*/ 210530 h 3030456"/>
                <a:gd name="connsiteX53" fmla="*/ 574863 w 3218787"/>
                <a:gd name="connsiteY53" fmla="*/ 241177 h 3030456"/>
                <a:gd name="connsiteX54" fmla="*/ 1105621 w 3218787"/>
                <a:gd name="connsiteY54" fmla="*/ 771935 h 3030456"/>
                <a:gd name="connsiteX55" fmla="*/ 1929836 w 3218787"/>
                <a:gd name="connsiteY55" fmla="*/ 771935 h 3030456"/>
                <a:gd name="connsiteX56" fmla="*/ 2459567 w 3218787"/>
                <a:gd name="connsiteY56" fmla="*/ 243574 h 3030456"/>
                <a:gd name="connsiteX57" fmla="*/ 2493809 w 3218787"/>
                <a:gd name="connsiteY57" fmla="*/ 220118 h 3030456"/>
                <a:gd name="connsiteX58" fmla="*/ 2533188 w 3218787"/>
                <a:gd name="connsiteY58" fmla="*/ 211386 h 3030456"/>
                <a:gd name="connsiteX59" fmla="*/ 2608350 w 3218787"/>
                <a:gd name="connsiteY59" fmla="*/ 242033 h 3030456"/>
                <a:gd name="connsiteX60" fmla="*/ 2639682 w 3218787"/>
                <a:gd name="connsiteY60" fmla="*/ 318051 h 3030456"/>
                <a:gd name="connsiteX61" fmla="*/ 2639682 w 3218787"/>
                <a:gd name="connsiteY61" fmla="*/ 957187 h 3030456"/>
                <a:gd name="connsiteX62" fmla="*/ 396803 w 3218787"/>
                <a:gd name="connsiteY62" fmla="*/ 957187 h 3030456"/>
                <a:gd name="connsiteX63" fmla="*/ 396803 w 3218787"/>
                <a:gd name="connsiteY63" fmla="*/ 1744763 h 3030456"/>
                <a:gd name="connsiteX64" fmla="*/ 396803 w 3218787"/>
                <a:gd name="connsiteY64" fmla="*/ 1145520 h 3030456"/>
                <a:gd name="connsiteX65" fmla="*/ 2639682 w 3218787"/>
                <a:gd name="connsiteY65" fmla="*/ 1145520 h 3030456"/>
                <a:gd name="connsiteX66" fmla="*/ 2639682 w 3218787"/>
                <a:gd name="connsiteY66" fmla="*/ 1744763 h 3030456"/>
                <a:gd name="connsiteX67" fmla="*/ 2825104 w 3218787"/>
                <a:gd name="connsiteY67" fmla="*/ 1930186 h 3030456"/>
                <a:gd name="connsiteX68" fmla="*/ 2790006 w 3218787"/>
                <a:gd name="connsiteY68" fmla="*/ 2148482 h 3030456"/>
                <a:gd name="connsiteX69" fmla="*/ 2706112 w 3218787"/>
                <a:gd name="connsiteY69" fmla="*/ 2349827 h 3030456"/>
                <a:gd name="connsiteX70" fmla="*/ 2577703 w 3218787"/>
                <a:gd name="connsiteY70" fmla="*/ 2526518 h 3030456"/>
                <a:gd name="connsiteX71" fmla="*/ 2409059 w 3218787"/>
                <a:gd name="connsiteY71" fmla="*/ 2670336 h 3030456"/>
                <a:gd name="connsiteX72" fmla="*/ 1892341 w 3218787"/>
                <a:gd name="connsiteY72" fmla="*/ 2826482 h 3030456"/>
                <a:gd name="connsiteX73" fmla="*/ 1767527 w 3218787"/>
                <a:gd name="connsiteY73" fmla="*/ 2806793 h 3030456"/>
                <a:gd name="connsiteX74" fmla="*/ 1671819 w 3218787"/>
                <a:gd name="connsiteY74" fmla="*/ 2753546 h 3030456"/>
                <a:gd name="connsiteX75" fmla="*/ 1593062 w 3218787"/>
                <a:gd name="connsiteY75" fmla="*/ 2673932 h 3030456"/>
                <a:gd name="connsiteX76" fmla="*/ 1534507 w 3218787"/>
                <a:gd name="connsiteY76" fmla="*/ 2597058 h 3030456"/>
                <a:gd name="connsiteX77" fmla="*/ 1501806 w 3218787"/>
                <a:gd name="connsiteY77" fmla="*/ 2597058 h 3030456"/>
                <a:gd name="connsiteX78" fmla="*/ 1443251 w 3218787"/>
                <a:gd name="connsiteY78" fmla="*/ 2673932 h 3030456"/>
                <a:gd name="connsiteX79" fmla="*/ 1364494 w 3218787"/>
                <a:gd name="connsiteY79" fmla="*/ 2753546 h 3030456"/>
                <a:gd name="connsiteX80" fmla="*/ 1268786 w 3218787"/>
                <a:gd name="connsiteY80" fmla="*/ 2806793 h 3030456"/>
                <a:gd name="connsiteX81" fmla="*/ 1143972 w 3218787"/>
                <a:gd name="connsiteY81" fmla="*/ 2826482 h 3030456"/>
                <a:gd name="connsiteX82" fmla="*/ 459124 w 3218787"/>
                <a:gd name="connsiteY82" fmla="*/ 2526518 h 3030456"/>
                <a:gd name="connsiteX83" fmla="*/ 330715 w 3218787"/>
                <a:gd name="connsiteY83" fmla="*/ 2349827 h 3030456"/>
                <a:gd name="connsiteX84" fmla="*/ 246821 w 3218787"/>
                <a:gd name="connsiteY84" fmla="*/ 2148482 h 3030456"/>
                <a:gd name="connsiteX85" fmla="*/ 211722 w 3218787"/>
                <a:gd name="connsiteY85" fmla="*/ 1930186 h 30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218787" h="3030456">
                  <a:moveTo>
                    <a:pt x="176453" y="2455808"/>
                  </a:moveTo>
                  <a:cubicBezTo>
                    <a:pt x="224906" y="2538828"/>
                    <a:pt x="284020" y="2615155"/>
                    <a:pt x="352288" y="2682835"/>
                  </a:cubicBezTo>
                  <a:cubicBezTo>
                    <a:pt x="420581" y="2750687"/>
                    <a:pt x="497077" y="2809755"/>
                    <a:pt x="580000" y="2858670"/>
                  </a:cubicBezTo>
                  <a:cubicBezTo>
                    <a:pt x="663967" y="2908150"/>
                    <a:pt x="754047" y="2946416"/>
                    <a:pt x="847947" y="2972526"/>
                  </a:cubicBezTo>
                  <a:cubicBezTo>
                    <a:pt x="944373" y="2999441"/>
                    <a:pt x="1044036" y="3012967"/>
                    <a:pt x="1144144" y="3012761"/>
                  </a:cubicBezTo>
                  <a:cubicBezTo>
                    <a:pt x="1212834" y="3013001"/>
                    <a:pt x="1280959" y="3000331"/>
                    <a:pt x="1344975" y="2975437"/>
                  </a:cubicBezTo>
                  <a:cubicBezTo>
                    <a:pt x="1408735" y="2950594"/>
                    <a:pt x="1467341" y="2914194"/>
                    <a:pt x="1517900" y="2868087"/>
                  </a:cubicBezTo>
                  <a:cubicBezTo>
                    <a:pt x="1568459" y="2914194"/>
                    <a:pt x="1627065" y="2950594"/>
                    <a:pt x="1690824" y="2975437"/>
                  </a:cubicBezTo>
                  <a:cubicBezTo>
                    <a:pt x="1754840" y="3000331"/>
                    <a:pt x="1822965" y="3012984"/>
                    <a:pt x="1891656" y="3012761"/>
                  </a:cubicBezTo>
                  <a:cubicBezTo>
                    <a:pt x="1991815" y="3012984"/>
                    <a:pt x="2091546" y="2999441"/>
                    <a:pt x="2188024" y="2972526"/>
                  </a:cubicBezTo>
                  <a:cubicBezTo>
                    <a:pt x="2281797" y="2946502"/>
                    <a:pt x="2371803" y="2908476"/>
                    <a:pt x="2455800" y="2859355"/>
                  </a:cubicBezTo>
                  <a:cubicBezTo>
                    <a:pt x="2538941" y="2810919"/>
                    <a:pt x="2615387" y="2751816"/>
                    <a:pt x="2683170" y="2683520"/>
                  </a:cubicBezTo>
                  <a:cubicBezTo>
                    <a:pt x="2751021" y="2615223"/>
                    <a:pt x="2810089" y="2538726"/>
                    <a:pt x="2859004" y="2455808"/>
                  </a:cubicBezTo>
                  <a:cubicBezTo>
                    <a:pt x="2908485" y="2371845"/>
                    <a:pt x="2946751" y="2281753"/>
                    <a:pt x="2972860" y="2187860"/>
                  </a:cubicBezTo>
                  <a:cubicBezTo>
                    <a:pt x="2999860" y="2091399"/>
                    <a:pt x="3013403" y="1991668"/>
                    <a:pt x="3013095" y="1891492"/>
                  </a:cubicBezTo>
                  <a:lnTo>
                    <a:pt x="3013095" y="1853654"/>
                  </a:lnTo>
                  <a:lnTo>
                    <a:pt x="2825960" y="1666690"/>
                  </a:lnTo>
                  <a:lnTo>
                    <a:pt x="2825960" y="1144151"/>
                  </a:lnTo>
                  <a:lnTo>
                    <a:pt x="2826988" y="1144151"/>
                  </a:lnTo>
                  <a:lnTo>
                    <a:pt x="2944782" y="1428534"/>
                  </a:lnTo>
                  <a:cubicBezTo>
                    <a:pt x="2962759" y="1476932"/>
                    <a:pt x="3016571" y="1501595"/>
                    <a:pt x="3064955" y="1483622"/>
                  </a:cubicBezTo>
                  <a:cubicBezTo>
                    <a:pt x="3113357" y="1465646"/>
                    <a:pt x="3138029" y="1411841"/>
                    <a:pt x="3120051" y="1363443"/>
                  </a:cubicBezTo>
                  <a:cubicBezTo>
                    <a:pt x="3119230" y="1361251"/>
                    <a:pt x="3118340" y="1359090"/>
                    <a:pt x="3117363" y="1356967"/>
                  </a:cubicBezTo>
                  <a:lnTo>
                    <a:pt x="2992207" y="1054949"/>
                  </a:lnTo>
                  <a:lnTo>
                    <a:pt x="3171124" y="876032"/>
                  </a:lnTo>
                  <a:cubicBezTo>
                    <a:pt x="3209082" y="841041"/>
                    <a:pt x="3211496" y="781901"/>
                    <a:pt x="3176500" y="743938"/>
                  </a:cubicBezTo>
                  <a:cubicBezTo>
                    <a:pt x="3141521" y="705976"/>
                    <a:pt x="3082368" y="703567"/>
                    <a:pt x="3044410" y="738557"/>
                  </a:cubicBezTo>
                  <a:cubicBezTo>
                    <a:pt x="3042510" y="740305"/>
                    <a:pt x="3040695" y="742129"/>
                    <a:pt x="3038948" y="744027"/>
                  </a:cubicBezTo>
                  <a:lnTo>
                    <a:pt x="2825960" y="957015"/>
                  </a:lnTo>
                  <a:lnTo>
                    <a:pt x="2825960" y="316510"/>
                  </a:lnTo>
                  <a:cubicBezTo>
                    <a:pt x="2826286" y="277120"/>
                    <a:pt x="2818530" y="238078"/>
                    <a:pt x="2803189" y="201798"/>
                  </a:cubicBezTo>
                  <a:cubicBezTo>
                    <a:pt x="2757595" y="92800"/>
                    <a:pt x="2650639" y="22174"/>
                    <a:pt x="2532503" y="23053"/>
                  </a:cubicBezTo>
                  <a:cubicBezTo>
                    <a:pt x="2494357" y="22872"/>
                    <a:pt x="2456588" y="30566"/>
                    <a:pt x="2421557" y="45653"/>
                  </a:cubicBezTo>
                  <a:cubicBezTo>
                    <a:pt x="2386665" y="60488"/>
                    <a:pt x="2354922" y="81876"/>
                    <a:pt x="2328076" y="108659"/>
                  </a:cubicBezTo>
                  <a:lnTo>
                    <a:pt x="1853647" y="583602"/>
                  </a:lnTo>
                  <a:lnTo>
                    <a:pt x="1182153" y="583602"/>
                  </a:lnTo>
                  <a:lnTo>
                    <a:pt x="707724" y="108659"/>
                  </a:lnTo>
                  <a:cubicBezTo>
                    <a:pt x="680763" y="81565"/>
                    <a:pt x="648777" y="59989"/>
                    <a:pt x="613557" y="45139"/>
                  </a:cubicBezTo>
                  <a:cubicBezTo>
                    <a:pt x="578681" y="30376"/>
                    <a:pt x="541167" y="22862"/>
                    <a:pt x="503297" y="23053"/>
                  </a:cubicBezTo>
                  <a:cubicBezTo>
                    <a:pt x="425560" y="22671"/>
                    <a:pt x="350923" y="53513"/>
                    <a:pt x="296130" y="108659"/>
                  </a:cubicBezTo>
                  <a:cubicBezTo>
                    <a:pt x="269493" y="135263"/>
                    <a:pt x="248167" y="166698"/>
                    <a:pt x="233295" y="201285"/>
                  </a:cubicBezTo>
                  <a:cubicBezTo>
                    <a:pt x="217600" y="237414"/>
                    <a:pt x="209666" y="276436"/>
                    <a:pt x="210010" y="315826"/>
                  </a:cubicBezTo>
                  <a:lnTo>
                    <a:pt x="210010" y="957358"/>
                  </a:lnTo>
                  <a:cubicBezTo>
                    <a:pt x="158429" y="959567"/>
                    <a:pt x="118405" y="1003173"/>
                    <a:pt x="120614" y="1054754"/>
                  </a:cubicBezTo>
                  <a:cubicBezTo>
                    <a:pt x="122690" y="1103239"/>
                    <a:pt x="161525" y="1142074"/>
                    <a:pt x="210010" y="1144151"/>
                  </a:cubicBezTo>
                  <a:lnTo>
                    <a:pt x="210010" y="1666690"/>
                  </a:lnTo>
                  <a:lnTo>
                    <a:pt x="23047" y="1853654"/>
                  </a:lnTo>
                  <a:lnTo>
                    <a:pt x="23047" y="1891492"/>
                  </a:lnTo>
                  <a:cubicBezTo>
                    <a:pt x="22843" y="1991959"/>
                    <a:pt x="36497" y="2091981"/>
                    <a:pt x="63624" y="2188716"/>
                  </a:cubicBezTo>
                  <a:cubicBezTo>
                    <a:pt x="89629" y="2282216"/>
                    <a:pt x="127549" y="2371982"/>
                    <a:pt x="176453" y="2455808"/>
                  </a:cubicBezTo>
                  <a:close/>
                  <a:moveTo>
                    <a:pt x="396803" y="315654"/>
                  </a:moveTo>
                  <a:cubicBezTo>
                    <a:pt x="396087" y="287286"/>
                    <a:pt x="407481" y="259954"/>
                    <a:pt x="428135" y="240492"/>
                  </a:cubicBezTo>
                  <a:cubicBezTo>
                    <a:pt x="448230" y="220941"/>
                    <a:pt x="475262" y="210165"/>
                    <a:pt x="503297" y="210530"/>
                  </a:cubicBezTo>
                  <a:cubicBezTo>
                    <a:pt x="530362" y="210417"/>
                    <a:pt x="556268" y="221512"/>
                    <a:pt x="574863" y="241177"/>
                  </a:cubicBezTo>
                  <a:lnTo>
                    <a:pt x="1105621" y="771935"/>
                  </a:lnTo>
                  <a:lnTo>
                    <a:pt x="1929836" y="771935"/>
                  </a:lnTo>
                  <a:lnTo>
                    <a:pt x="2459567" y="243574"/>
                  </a:lnTo>
                  <a:cubicBezTo>
                    <a:pt x="2469531" y="233823"/>
                    <a:pt x="2481122" y="225886"/>
                    <a:pt x="2493809" y="220118"/>
                  </a:cubicBezTo>
                  <a:cubicBezTo>
                    <a:pt x="2506136" y="214345"/>
                    <a:pt x="2519576" y="211364"/>
                    <a:pt x="2533188" y="211386"/>
                  </a:cubicBezTo>
                  <a:cubicBezTo>
                    <a:pt x="2561352" y="211011"/>
                    <a:pt x="2588472" y="222068"/>
                    <a:pt x="2608350" y="242033"/>
                  </a:cubicBezTo>
                  <a:cubicBezTo>
                    <a:pt x="2628930" y="261906"/>
                    <a:pt x="2640281" y="289455"/>
                    <a:pt x="2639682" y="318051"/>
                  </a:cubicBezTo>
                  <a:lnTo>
                    <a:pt x="2639682" y="957187"/>
                  </a:lnTo>
                  <a:lnTo>
                    <a:pt x="396803" y="957187"/>
                  </a:lnTo>
                  <a:close/>
                  <a:moveTo>
                    <a:pt x="396803" y="1744763"/>
                  </a:moveTo>
                  <a:lnTo>
                    <a:pt x="396803" y="1145520"/>
                  </a:lnTo>
                  <a:lnTo>
                    <a:pt x="2639682" y="1145520"/>
                  </a:lnTo>
                  <a:lnTo>
                    <a:pt x="2639682" y="1744763"/>
                  </a:lnTo>
                  <a:lnTo>
                    <a:pt x="2825104" y="1930186"/>
                  </a:lnTo>
                  <a:cubicBezTo>
                    <a:pt x="2822399" y="2004115"/>
                    <a:pt x="2810603" y="2077428"/>
                    <a:pt x="2790006" y="2148482"/>
                  </a:cubicBezTo>
                  <a:cubicBezTo>
                    <a:pt x="2769837" y="2218593"/>
                    <a:pt x="2741690" y="2286136"/>
                    <a:pt x="2706112" y="2349827"/>
                  </a:cubicBezTo>
                  <a:cubicBezTo>
                    <a:pt x="2670654" y="2413724"/>
                    <a:pt x="2627526" y="2473049"/>
                    <a:pt x="2577703" y="2526518"/>
                  </a:cubicBezTo>
                  <a:cubicBezTo>
                    <a:pt x="2527230" y="2580810"/>
                    <a:pt x="2470644" y="2629075"/>
                    <a:pt x="2409059" y="2670336"/>
                  </a:cubicBezTo>
                  <a:cubicBezTo>
                    <a:pt x="2409059" y="2670336"/>
                    <a:pt x="2208912" y="2826482"/>
                    <a:pt x="1892341" y="2826482"/>
                  </a:cubicBezTo>
                  <a:cubicBezTo>
                    <a:pt x="1849897" y="2827373"/>
                    <a:pt x="1807625" y="2820712"/>
                    <a:pt x="1767527" y="2806793"/>
                  </a:cubicBezTo>
                  <a:cubicBezTo>
                    <a:pt x="1732994" y="2794243"/>
                    <a:pt x="1700686" y="2776283"/>
                    <a:pt x="1671819" y="2753546"/>
                  </a:cubicBezTo>
                  <a:cubicBezTo>
                    <a:pt x="1642645" y="2730055"/>
                    <a:pt x="1616227" y="2703363"/>
                    <a:pt x="1593062" y="2673932"/>
                  </a:cubicBezTo>
                  <a:cubicBezTo>
                    <a:pt x="1573886" y="2649791"/>
                    <a:pt x="1554368" y="2623938"/>
                    <a:pt x="1534507" y="2597058"/>
                  </a:cubicBezTo>
                  <a:lnTo>
                    <a:pt x="1501806" y="2597058"/>
                  </a:lnTo>
                  <a:cubicBezTo>
                    <a:pt x="1482117" y="2623938"/>
                    <a:pt x="1462427" y="2649791"/>
                    <a:pt x="1443251" y="2673932"/>
                  </a:cubicBezTo>
                  <a:cubicBezTo>
                    <a:pt x="1420138" y="2703398"/>
                    <a:pt x="1393703" y="2730107"/>
                    <a:pt x="1364494" y="2753546"/>
                  </a:cubicBezTo>
                  <a:cubicBezTo>
                    <a:pt x="1335627" y="2776283"/>
                    <a:pt x="1303320" y="2794243"/>
                    <a:pt x="1268786" y="2806793"/>
                  </a:cubicBezTo>
                  <a:cubicBezTo>
                    <a:pt x="1228688" y="2820712"/>
                    <a:pt x="1186416" y="2827373"/>
                    <a:pt x="1143972" y="2826482"/>
                  </a:cubicBezTo>
                  <a:cubicBezTo>
                    <a:pt x="883850" y="2826362"/>
                    <a:pt x="635594" y="2717625"/>
                    <a:pt x="459124" y="2526518"/>
                  </a:cubicBezTo>
                  <a:cubicBezTo>
                    <a:pt x="409407" y="2472963"/>
                    <a:pt x="366296" y="2413655"/>
                    <a:pt x="330715" y="2349827"/>
                  </a:cubicBezTo>
                  <a:cubicBezTo>
                    <a:pt x="295206" y="2286102"/>
                    <a:pt x="267060" y="2218559"/>
                    <a:pt x="246821" y="2148482"/>
                  </a:cubicBezTo>
                  <a:cubicBezTo>
                    <a:pt x="226222" y="2077428"/>
                    <a:pt x="214434" y="2004115"/>
                    <a:pt x="211722" y="1930186"/>
                  </a:cubicBezTo>
                  <a:close/>
                </a:path>
              </a:pathLst>
            </a:custGeom>
            <a:solidFill>
              <a:srgbClr val="F2F2F2"/>
            </a:solidFill>
            <a:ln w="17094"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spTree>
    <p:extLst>
      <p:ext uri="{BB962C8B-B14F-4D97-AF65-F5344CB8AC3E}">
        <p14:creationId xmlns:p14="http://schemas.microsoft.com/office/powerpoint/2010/main" val="27558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par>
                                <p:cTn id="17" presetID="2" presetClass="entr" presetSubtype="4" decel="100000" fill="hold" nodeType="withEffect">
                                  <p:stCondLst>
                                    <p:cond delay="125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000" fill="hold"/>
                                        <p:tgtEl>
                                          <p:spTgt spid="34"/>
                                        </p:tgtEl>
                                        <p:attrNameLst>
                                          <p:attrName>ppt_x</p:attrName>
                                        </p:attrNameLst>
                                      </p:cBhvr>
                                      <p:tavLst>
                                        <p:tav tm="0">
                                          <p:val>
                                            <p:strVal val="#ppt_x"/>
                                          </p:val>
                                        </p:tav>
                                        <p:tav tm="100000">
                                          <p:val>
                                            <p:strVal val="#ppt_x"/>
                                          </p:val>
                                        </p:tav>
                                      </p:tavLst>
                                    </p:anim>
                                    <p:anim calcmode="lin" valueType="num">
                                      <p:cBhvr additive="base">
                                        <p:cTn id="20" dur="1000" fill="hold"/>
                                        <p:tgtEl>
                                          <p:spTgt spid="3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32" presetClass="emph" presetSubtype="0" fill="hold" nodeType="afterEffect">
                                  <p:stCondLst>
                                    <p:cond delay="0"/>
                                  </p:stCondLst>
                                  <p:childTnLst>
                                    <p:animRot by="120000">
                                      <p:cBhvr>
                                        <p:cTn id="23" dur="100" fill="hold">
                                          <p:stCondLst>
                                            <p:cond delay="0"/>
                                          </p:stCondLst>
                                        </p:cTn>
                                        <p:tgtEl>
                                          <p:spTgt spid="34"/>
                                        </p:tgtEl>
                                        <p:attrNameLst>
                                          <p:attrName>r</p:attrName>
                                        </p:attrNameLst>
                                      </p:cBhvr>
                                    </p:animRot>
                                    <p:animRot by="-240000">
                                      <p:cBhvr>
                                        <p:cTn id="24" dur="200" fill="hold">
                                          <p:stCondLst>
                                            <p:cond delay="200"/>
                                          </p:stCondLst>
                                        </p:cTn>
                                        <p:tgtEl>
                                          <p:spTgt spid="34"/>
                                        </p:tgtEl>
                                        <p:attrNameLst>
                                          <p:attrName>r</p:attrName>
                                        </p:attrNameLst>
                                      </p:cBhvr>
                                    </p:animRot>
                                    <p:animRot by="240000">
                                      <p:cBhvr>
                                        <p:cTn id="25" dur="200" fill="hold">
                                          <p:stCondLst>
                                            <p:cond delay="400"/>
                                          </p:stCondLst>
                                        </p:cTn>
                                        <p:tgtEl>
                                          <p:spTgt spid="34"/>
                                        </p:tgtEl>
                                        <p:attrNameLst>
                                          <p:attrName>r</p:attrName>
                                        </p:attrNameLst>
                                      </p:cBhvr>
                                    </p:animRot>
                                    <p:animRot by="-240000">
                                      <p:cBhvr>
                                        <p:cTn id="26" dur="200" fill="hold">
                                          <p:stCondLst>
                                            <p:cond delay="600"/>
                                          </p:stCondLst>
                                        </p:cTn>
                                        <p:tgtEl>
                                          <p:spTgt spid="34"/>
                                        </p:tgtEl>
                                        <p:attrNameLst>
                                          <p:attrName>r</p:attrName>
                                        </p:attrNameLst>
                                      </p:cBhvr>
                                    </p:animRot>
                                    <p:animRot by="120000">
                                      <p:cBhvr>
                                        <p:cTn id="27" dur="200" fill="hold">
                                          <p:stCondLst>
                                            <p:cond delay="800"/>
                                          </p:stCondLst>
                                        </p:cTn>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2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4569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23568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26521C-D9A5-44F2-9729-31AEB308F9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0" name="Rectangle 9">
            <a:extLst>
              <a:ext uri="{FF2B5EF4-FFF2-40B4-BE49-F238E27FC236}">
                <a16:creationId xmlns:a16="http://schemas.microsoft.com/office/drawing/2014/main" id="{4F2030F1-4E27-460F-AAAD-BDB0E0222A0C}"/>
              </a:ext>
            </a:extLst>
          </p:cNvPr>
          <p:cNvSpPr/>
          <p:nvPr userDrawn="1"/>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defRPr>
            </a:lvl1pPr>
          </a:lstStyle>
          <a:p>
            <a:r>
              <a:rPr lang="en-US"/>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Graphic 6">
            <a:extLst>
              <a:ext uri="{FF2B5EF4-FFF2-40B4-BE49-F238E27FC236}">
                <a16:creationId xmlns:a16="http://schemas.microsoft.com/office/drawing/2014/main" id="{EC7B8511-5FFF-4742-9851-69AD6CEB92C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6000" y="549000"/>
            <a:ext cx="1058613" cy="1440000"/>
          </a:xfrm>
          <a:prstGeom prst="rect">
            <a:avLst/>
          </a:prstGeom>
        </p:spPr>
      </p:pic>
    </p:spTree>
    <p:extLst>
      <p:ext uri="{BB962C8B-B14F-4D97-AF65-F5344CB8AC3E}">
        <p14:creationId xmlns:p14="http://schemas.microsoft.com/office/powerpoint/2010/main" val="296492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23568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96ED66-E95C-499D-A357-00B71AD7279F}"/>
              </a:ext>
            </a:extLst>
          </p:cNvPr>
          <p:cNvSpPr/>
          <p:nvPr userDrawn="1"/>
        </p:nvSpPr>
        <p:spPr>
          <a:xfrm>
            <a:off x="6096000" y="0"/>
            <a:ext cx="6096000" cy="6858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7D7B231-B42B-45E8-BC51-7F29536E1EF2}"/>
              </a:ext>
            </a:extLst>
          </p:cNvPr>
          <p:cNvSpPr>
            <a:spLocks noGrp="1"/>
          </p:cNvSpPr>
          <p:nvPr>
            <p:ph type="body" sz="quarter" idx="10" hasCustomPrompt="1"/>
          </p:nvPr>
        </p:nvSpPr>
        <p:spPr>
          <a:xfrm>
            <a:off x="33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7" name="Text Placeholder 2">
            <a:extLst>
              <a:ext uri="{FF2B5EF4-FFF2-40B4-BE49-F238E27FC236}">
                <a16:creationId xmlns:a16="http://schemas.microsoft.com/office/drawing/2014/main" id="{DEAC052E-0B08-4391-BA33-B683EF5C43AD}"/>
              </a:ext>
            </a:extLst>
          </p:cNvPr>
          <p:cNvSpPr>
            <a:spLocks noGrp="1"/>
          </p:cNvSpPr>
          <p:nvPr>
            <p:ph type="body" sz="quarter" idx="11" hasCustomPrompt="1"/>
          </p:nvPr>
        </p:nvSpPr>
        <p:spPr>
          <a:xfrm>
            <a:off x="128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3" name="Text Placeholder 2">
            <a:extLst>
              <a:ext uri="{FF2B5EF4-FFF2-40B4-BE49-F238E27FC236}">
                <a16:creationId xmlns:a16="http://schemas.microsoft.com/office/drawing/2014/main" id="{7C8A4268-959A-4CFE-A595-E2AFBD11CC05}"/>
              </a:ext>
            </a:extLst>
          </p:cNvPr>
          <p:cNvSpPr>
            <a:spLocks noGrp="1"/>
          </p:cNvSpPr>
          <p:nvPr>
            <p:ph type="body" sz="quarter" idx="14" hasCustomPrompt="1"/>
          </p:nvPr>
        </p:nvSpPr>
        <p:spPr>
          <a:xfrm>
            <a:off x="33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4" name="Text Placeholder 2">
            <a:extLst>
              <a:ext uri="{FF2B5EF4-FFF2-40B4-BE49-F238E27FC236}">
                <a16:creationId xmlns:a16="http://schemas.microsoft.com/office/drawing/2014/main" id="{537028A8-3D16-4E81-9F55-87ADDE8881BA}"/>
              </a:ext>
            </a:extLst>
          </p:cNvPr>
          <p:cNvSpPr>
            <a:spLocks noGrp="1"/>
          </p:cNvSpPr>
          <p:nvPr>
            <p:ph type="body" sz="quarter" idx="15" hasCustomPrompt="1"/>
          </p:nvPr>
        </p:nvSpPr>
        <p:spPr>
          <a:xfrm>
            <a:off x="128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7" name="Text Placeholder 2">
            <a:extLst>
              <a:ext uri="{FF2B5EF4-FFF2-40B4-BE49-F238E27FC236}">
                <a16:creationId xmlns:a16="http://schemas.microsoft.com/office/drawing/2014/main" id="{81784B64-93E3-4C58-8F71-3BCF2FE74485}"/>
              </a:ext>
            </a:extLst>
          </p:cNvPr>
          <p:cNvSpPr>
            <a:spLocks noGrp="1"/>
          </p:cNvSpPr>
          <p:nvPr>
            <p:ph type="body" sz="quarter" idx="18" hasCustomPrompt="1"/>
          </p:nvPr>
        </p:nvSpPr>
        <p:spPr>
          <a:xfrm>
            <a:off x="33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8" name="Text Placeholder 2">
            <a:extLst>
              <a:ext uri="{FF2B5EF4-FFF2-40B4-BE49-F238E27FC236}">
                <a16:creationId xmlns:a16="http://schemas.microsoft.com/office/drawing/2014/main" id="{2AE5F81B-63C3-49E7-87D8-AB3BF4B4E41D}"/>
              </a:ext>
            </a:extLst>
          </p:cNvPr>
          <p:cNvSpPr>
            <a:spLocks noGrp="1"/>
          </p:cNvSpPr>
          <p:nvPr>
            <p:ph type="body" sz="quarter" idx="19" hasCustomPrompt="1"/>
          </p:nvPr>
        </p:nvSpPr>
        <p:spPr>
          <a:xfrm>
            <a:off x="128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1" name="Text Placeholder 2">
            <a:extLst>
              <a:ext uri="{FF2B5EF4-FFF2-40B4-BE49-F238E27FC236}">
                <a16:creationId xmlns:a16="http://schemas.microsoft.com/office/drawing/2014/main" id="{EAACC181-770F-4C3B-AB9E-EDDCA9BA959B}"/>
              </a:ext>
            </a:extLst>
          </p:cNvPr>
          <p:cNvSpPr>
            <a:spLocks noGrp="1"/>
          </p:cNvSpPr>
          <p:nvPr>
            <p:ph type="body" sz="quarter" idx="22" hasCustomPrompt="1"/>
          </p:nvPr>
        </p:nvSpPr>
        <p:spPr>
          <a:xfrm>
            <a:off x="33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2" name="Text Placeholder 2">
            <a:extLst>
              <a:ext uri="{FF2B5EF4-FFF2-40B4-BE49-F238E27FC236}">
                <a16:creationId xmlns:a16="http://schemas.microsoft.com/office/drawing/2014/main" id="{A7D4DB09-5691-44F1-B73C-F525155B76BB}"/>
              </a:ext>
            </a:extLst>
          </p:cNvPr>
          <p:cNvSpPr>
            <a:spLocks noGrp="1"/>
          </p:cNvSpPr>
          <p:nvPr>
            <p:ph type="body" sz="quarter" idx="23" hasCustomPrompt="1"/>
          </p:nvPr>
        </p:nvSpPr>
        <p:spPr>
          <a:xfrm>
            <a:off x="128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5" name="Text Placeholder 2">
            <a:extLst>
              <a:ext uri="{FF2B5EF4-FFF2-40B4-BE49-F238E27FC236}">
                <a16:creationId xmlns:a16="http://schemas.microsoft.com/office/drawing/2014/main" id="{0CD0FD60-9724-4C7C-B7F9-425D37A8B5DE}"/>
              </a:ext>
            </a:extLst>
          </p:cNvPr>
          <p:cNvSpPr>
            <a:spLocks noGrp="1"/>
          </p:cNvSpPr>
          <p:nvPr>
            <p:ph type="body" sz="quarter" idx="26" hasCustomPrompt="1"/>
          </p:nvPr>
        </p:nvSpPr>
        <p:spPr>
          <a:xfrm>
            <a:off x="33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6" name="Text Placeholder 2">
            <a:extLst>
              <a:ext uri="{FF2B5EF4-FFF2-40B4-BE49-F238E27FC236}">
                <a16:creationId xmlns:a16="http://schemas.microsoft.com/office/drawing/2014/main" id="{35C92CEE-CAE5-42F3-9E2A-F9F7ABFA3055}"/>
              </a:ext>
            </a:extLst>
          </p:cNvPr>
          <p:cNvSpPr>
            <a:spLocks noGrp="1"/>
          </p:cNvSpPr>
          <p:nvPr>
            <p:ph type="body" sz="quarter" idx="27" hasCustomPrompt="1"/>
          </p:nvPr>
        </p:nvSpPr>
        <p:spPr>
          <a:xfrm>
            <a:off x="128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9" name="Text Placeholder 2">
            <a:extLst>
              <a:ext uri="{FF2B5EF4-FFF2-40B4-BE49-F238E27FC236}">
                <a16:creationId xmlns:a16="http://schemas.microsoft.com/office/drawing/2014/main" id="{5D9BBFEE-6DBB-44F1-A2C7-8125B75DB30F}"/>
              </a:ext>
            </a:extLst>
          </p:cNvPr>
          <p:cNvSpPr>
            <a:spLocks noGrp="1"/>
          </p:cNvSpPr>
          <p:nvPr>
            <p:ph type="body" sz="quarter" idx="30" hasCustomPrompt="1"/>
          </p:nvPr>
        </p:nvSpPr>
        <p:spPr>
          <a:xfrm>
            <a:off x="33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0" name="Text Placeholder 2">
            <a:extLst>
              <a:ext uri="{FF2B5EF4-FFF2-40B4-BE49-F238E27FC236}">
                <a16:creationId xmlns:a16="http://schemas.microsoft.com/office/drawing/2014/main" id="{0A13A669-1B38-461E-9927-0058B872B7A1}"/>
              </a:ext>
            </a:extLst>
          </p:cNvPr>
          <p:cNvSpPr>
            <a:spLocks noGrp="1"/>
          </p:cNvSpPr>
          <p:nvPr>
            <p:ph type="body" sz="quarter" idx="31" hasCustomPrompt="1"/>
          </p:nvPr>
        </p:nvSpPr>
        <p:spPr>
          <a:xfrm>
            <a:off x="128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3" name="Text Placeholder 2">
            <a:extLst>
              <a:ext uri="{FF2B5EF4-FFF2-40B4-BE49-F238E27FC236}">
                <a16:creationId xmlns:a16="http://schemas.microsoft.com/office/drawing/2014/main" id="{011D1179-1E3C-4B82-94A4-B2FD40DFE2DA}"/>
              </a:ext>
            </a:extLst>
          </p:cNvPr>
          <p:cNvSpPr>
            <a:spLocks noGrp="1"/>
          </p:cNvSpPr>
          <p:nvPr>
            <p:ph type="body" sz="quarter" idx="34" hasCustomPrompt="1"/>
          </p:nvPr>
        </p:nvSpPr>
        <p:spPr>
          <a:xfrm>
            <a:off x="636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4" name="Text Placeholder 2">
            <a:extLst>
              <a:ext uri="{FF2B5EF4-FFF2-40B4-BE49-F238E27FC236}">
                <a16:creationId xmlns:a16="http://schemas.microsoft.com/office/drawing/2014/main" id="{56723640-A36E-4558-97DD-568CD39F9C59}"/>
              </a:ext>
            </a:extLst>
          </p:cNvPr>
          <p:cNvSpPr>
            <a:spLocks noGrp="1"/>
          </p:cNvSpPr>
          <p:nvPr>
            <p:ph type="body" sz="quarter" idx="35" hasCustomPrompt="1"/>
          </p:nvPr>
        </p:nvSpPr>
        <p:spPr>
          <a:xfrm>
            <a:off x="731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7" name="Text Placeholder 2">
            <a:extLst>
              <a:ext uri="{FF2B5EF4-FFF2-40B4-BE49-F238E27FC236}">
                <a16:creationId xmlns:a16="http://schemas.microsoft.com/office/drawing/2014/main" id="{8155134E-9ACB-4818-B411-4AA8F50B58BE}"/>
              </a:ext>
            </a:extLst>
          </p:cNvPr>
          <p:cNvSpPr>
            <a:spLocks noGrp="1"/>
          </p:cNvSpPr>
          <p:nvPr>
            <p:ph type="body" sz="quarter" idx="38" hasCustomPrompt="1"/>
          </p:nvPr>
        </p:nvSpPr>
        <p:spPr>
          <a:xfrm>
            <a:off x="636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8" name="Text Placeholder 2">
            <a:extLst>
              <a:ext uri="{FF2B5EF4-FFF2-40B4-BE49-F238E27FC236}">
                <a16:creationId xmlns:a16="http://schemas.microsoft.com/office/drawing/2014/main" id="{79240262-EFFF-4ACC-A914-FC5C72F66E4B}"/>
              </a:ext>
            </a:extLst>
          </p:cNvPr>
          <p:cNvSpPr>
            <a:spLocks noGrp="1"/>
          </p:cNvSpPr>
          <p:nvPr>
            <p:ph type="body" sz="quarter" idx="39" hasCustomPrompt="1"/>
          </p:nvPr>
        </p:nvSpPr>
        <p:spPr>
          <a:xfrm>
            <a:off x="731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1" name="Text Placeholder 2">
            <a:extLst>
              <a:ext uri="{FF2B5EF4-FFF2-40B4-BE49-F238E27FC236}">
                <a16:creationId xmlns:a16="http://schemas.microsoft.com/office/drawing/2014/main" id="{445DAD2F-3C4C-431F-A64E-544FD417A3A1}"/>
              </a:ext>
            </a:extLst>
          </p:cNvPr>
          <p:cNvSpPr>
            <a:spLocks noGrp="1"/>
          </p:cNvSpPr>
          <p:nvPr>
            <p:ph type="body" sz="quarter" idx="42" hasCustomPrompt="1"/>
          </p:nvPr>
        </p:nvSpPr>
        <p:spPr>
          <a:xfrm>
            <a:off x="636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2" name="Text Placeholder 2">
            <a:extLst>
              <a:ext uri="{FF2B5EF4-FFF2-40B4-BE49-F238E27FC236}">
                <a16:creationId xmlns:a16="http://schemas.microsoft.com/office/drawing/2014/main" id="{6BFD6B20-654B-4021-AFCD-6BFB92C3A674}"/>
              </a:ext>
            </a:extLst>
          </p:cNvPr>
          <p:cNvSpPr>
            <a:spLocks noGrp="1"/>
          </p:cNvSpPr>
          <p:nvPr>
            <p:ph type="body" sz="quarter" idx="43" hasCustomPrompt="1"/>
          </p:nvPr>
        </p:nvSpPr>
        <p:spPr>
          <a:xfrm>
            <a:off x="731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5" name="Text Placeholder 2">
            <a:extLst>
              <a:ext uri="{FF2B5EF4-FFF2-40B4-BE49-F238E27FC236}">
                <a16:creationId xmlns:a16="http://schemas.microsoft.com/office/drawing/2014/main" id="{A2367E3E-C41A-4BBA-8583-D0063644E062}"/>
              </a:ext>
            </a:extLst>
          </p:cNvPr>
          <p:cNvSpPr>
            <a:spLocks noGrp="1"/>
          </p:cNvSpPr>
          <p:nvPr>
            <p:ph type="body" sz="quarter" idx="46" hasCustomPrompt="1"/>
          </p:nvPr>
        </p:nvSpPr>
        <p:spPr>
          <a:xfrm>
            <a:off x="636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6" name="Text Placeholder 2">
            <a:extLst>
              <a:ext uri="{FF2B5EF4-FFF2-40B4-BE49-F238E27FC236}">
                <a16:creationId xmlns:a16="http://schemas.microsoft.com/office/drawing/2014/main" id="{A60A0AAC-56E8-443C-B236-7081EEC2BBFD}"/>
              </a:ext>
            </a:extLst>
          </p:cNvPr>
          <p:cNvSpPr>
            <a:spLocks noGrp="1"/>
          </p:cNvSpPr>
          <p:nvPr>
            <p:ph type="body" sz="quarter" idx="47" hasCustomPrompt="1"/>
          </p:nvPr>
        </p:nvSpPr>
        <p:spPr>
          <a:xfrm>
            <a:off x="731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9" name="Text Placeholder 2">
            <a:extLst>
              <a:ext uri="{FF2B5EF4-FFF2-40B4-BE49-F238E27FC236}">
                <a16:creationId xmlns:a16="http://schemas.microsoft.com/office/drawing/2014/main" id="{F0E61B97-7B83-4C1A-886B-6BD80475E71F}"/>
              </a:ext>
            </a:extLst>
          </p:cNvPr>
          <p:cNvSpPr>
            <a:spLocks noGrp="1"/>
          </p:cNvSpPr>
          <p:nvPr>
            <p:ph type="body" sz="quarter" idx="50" hasCustomPrompt="1"/>
          </p:nvPr>
        </p:nvSpPr>
        <p:spPr>
          <a:xfrm>
            <a:off x="636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0" name="Text Placeholder 2">
            <a:extLst>
              <a:ext uri="{FF2B5EF4-FFF2-40B4-BE49-F238E27FC236}">
                <a16:creationId xmlns:a16="http://schemas.microsoft.com/office/drawing/2014/main" id="{0C526012-D06A-48B0-A774-AC140D126062}"/>
              </a:ext>
            </a:extLst>
          </p:cNvPr>
          <p:cNvSpPr>
            <a:spLocks noGrp="1"/>
          </p:cNvSpPr>
          <p:nvPr>
            <p:ph type="body" sz="quarter" idx="51" hasCustomPrompt="1"/>
          </p:nvPr>
        </p:nvSpPr>
        <p:spPr>
          <a:xfrm>
            <a:off x="731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53" name="Text Placeholder 2">
            <a:extLst>
              <a:ext uri="{FF2B5EF4-FFF2-40B4-BE49-F238E27FC236}">
                <a16:creationId xmlns:a16="http://schemas.microsoft.com/office/drawing/2014/main" id="{6839FFE6-C37F-4BD2-8546-76E451789688}"/>
              </a:ext>
            </a:extLst>
          </p:cNvPr>
          <p:cNvSpPr>
            <a:spLocks noGrp="1"/>
          </p:cNvSpPr>
          <p:nvPr>
            <p:ph type="body" sz="quarter" idx="54" hasCustomPrompt="1"/>
          </p:nvPr>
        </p:nvSpPr>
        <p:spPr>
          <a:xfrm>
            <a:off x="636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4" name="Text Placeholder 2">
            <a:extLst>
              <a:ext uri="{FF2B5EF4-FFF2-40B4-BE49-F238E27FC236}">
                <a16:creationId xmlns:a16="http://schemas.microsoft.com/office/drawing/2014/main" id="{BAF0B808-896C-4563-AAD9-31C8E62D710A}"/>
              </a:ext>
            </a:extLst>
          </p:cNvPr>
          <p:cNvSpPr>
            <a:spLocks noGrp="1"/>
          </p:cNvSpPr>
          <p:nvPr>
            <p:ph type="body" sz="quarter" idx="55" hasCustomPrompt="1"/>
          </p:nvPr>
        </p:nvSpPr>
        <p:spPr>
          <a:xfrm>
            <a:off x="731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 name="Title 3">
            <a:extLst>
              <a:ext uri="{FF2B5EF4-FFF2-40B4-BE49-F238E27FC236}">
                <a16:creationId xmlns:a16="http://schemas.microsoft.com/office/drawing/2014/main" id="{29FB6A00-E88F-4EAB-85A3-8801802AA4DD}"/>
              </a:ext>
            </a:extLst>
          </p:cNvPr>
          <p:cNvSpPr>
            <a:spLocks noGrp="1"/>
          </p:cNvSpPr>
          <p:nvPr>
            <p:ph type="title" hasCustomPrompt="1"/>
          </p:nvPr>
        </p:nvSpPr>
        <p:spPr>
          <a:xfrm>
            <a:off x="336000" y="414000"/>
            <a:ext cx="5490000" cy="535531"/>
          </a:xfrm>
          <a:noFill/>
        </p:spPr>
        <p:txBody>
          <a:bodyPr wrap="square" rtlCol="0">
            <a:spAutoFit/>
          </a:bodyPr>
          <a:lstStyle>
            <a:lvl1pPr>
              <a:defRPr lang="en-US" sz="3200">
                <a:solidFill>
                  <a:srgbClr val="F2F2F2"/>
                </a:solidFill>
                <a:latin typeface="+mn-lt"/>
                <a:ea typeface="+mn-ea"/>
                <a:cs typeface="+mn-cs"/>
              </a:defRPr>
            </a:lvl1pPr>
          </a:lstStyle>
          <a:p>
            <a:pPr marL="0" lvl="0"/>
            <a:r>
              <a:rPr lang="en-US"/>
              <a:t>[Agenda title]</a:t>
            </a:r>
          </a:p>
        </p:txBody>
      </p:sp>
      <p:sp>
        <p:nvSpPr>
          <p:cNvPr id="58" name="Text Placeholder 2">
            <a:extLst>
              <a:ext uri="{FF2B5EF4-FFF2-40B4-BE49-F238E27FC236}">
                <a16:creationId xmlns:a16="http://schemas.microsoft.com/office/drawing/2014/main" id="{B3FADF42-9387-487F-ABE7-6601A98238CA}"/>
              </a:ext>
            </a:extLst>
          </p:cNvPr>
          <p:cNvSpPr>
            <a:spLocks noGrp="1"/>
          </p:cNvSpPr>
          <p:nvPr>
            <p:ph type="body" sz="quarter" idx="56" hasCustomPrompt="1"/>
          </p:nvPr>
        </p:nvSpPr>
        <p:spPr>
          <a:xfrm>
            <a:off x="6366550" y="414001"/>
            <a:ext cx="5490000" cy="539999"/>
          </a:xfrm>
          <a:noFill/>
        </p:spPr>
        <p:txBody>
          <a:bodyPr vert="horz" wrap="square" lIns="91440" tIns="45720" rIns="91440" bIns="45720" rtlCol="0" anchor="ctr">
            <a:spAutoFit/>
          </a:bodyPr>
          <a:lstStyle>
            <a:lvl1pPr marL="0" indent="0">
              <a:buNone/>
              <a:defRPr lang="en-US" sz="3200" b="1" spc="-100" dirty="0">
                <a:solidFill>
                  <a:srgbClr val="F2F2F2"/>
                </a:solidFill>
              </a:defRPr>
            </a:lvl1pPr>
          </a:lstStyle>
          <a:p>
            <a:pPr marL="228600" lvl="0" indent="-457200">
              <a:lnSpc>
                <a:spcPct val="90000"/>
              </a:lnSpc>
              <a:spcBef>
                <a:spcPct val="0"/>
              </a:spcBef>
            </a:pPr>
            <a:r>
              <a:rPr lang="en-US"/>
              <a:t>[Agenda title]</a:t>
            </a:r>
          </a:p>
        </p:txBody>
      </p:sp>
      <p:sp>
        <p:nvSpPr>
          <p:cNvPr id="28" name="Text Placeholder 2">
            <a:extLst>
              <a:ext uri="{FF2B5EF4-FFF2-40B4-BE49-F238E27FC236}">
                <a16:creationId xmlns:a16="http://schemas.microsoft.com/office/drawing/2014/main" id="{9473D5B8-0062-4AF1-BAAD-F0245BBCB055}"/>
              </a:ext>
            </a:extLst>
          </p:cNvPr>
          <p:cNvSpPr>
            <a:spLocks noGrp="1"/>
          </p:cNvSpPr>
          <p:nvPr>
            <p:ph type="body" sz="quarter" idx="57" hasCustomPrompt="1"/>
          </p:nvPr>
        </p:nvSpPr>
        <p:spPr>
          <a:xfrm>
            <a:off x="33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1" name="Text Placeholder 2">
            <a:extLst>
              <a:ext uri="{FF2B5EF4-FFF2-40B4-BE49-F238E27FC236}">
                <a16:creationId xmlns:a16="http://schemas.microsoft.com/office/drawing/2014/main" id="{524F7CD9-BE7E-44F2-B91D-FBB7E33008E2}"/>
              </a:ext>
            </a:extLst>
          </p:cNvPr>
          <p:cNvSpPr>
            <a:spLocks noGrp="1"/>
          </p:cNvSpPr>
          <p:nvPr>
            <p:ph type="body" sz="quarter" idx="58" hasCustomPrompt="1"/>
          </p:nvPr>
        </p:nvSpPr>
        <p:spPr>
          <a:xfrm>
            <a:off x="128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2" name="Text Placeholder 2">
            <a:extLst>
              <a:ext uri="{FF2B5EF4-FFF2-40B4-BE49-F238E27FC236}">
                <a16:creationId xmlns:a16="http://schemas.microsoft.com/office/drawing/2014/main" id="{6A96BE73-CA7E-487E-A3CB-25863266F21F}"/>
              </a:ext>
            </a:extLst>
          </p:cNvPr>
          <p:cNvSpPr>
            <a:spLocks noGrp="1"/>
          </p:cNvSpPr>
          <p:nvPr>
            <p:ph type="body" sz="quarter" idx="59" hasCustomPrompt="1"/>
          </p:nvPr>
        </p:nvSpPr>
        <p:spPr>
          <a:xfrm>
            <a:off x="636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5" name="Text Placeholder 2">
            <a:extLst>
              <a:ext uri="{FF2B5EF4-FFF2-40B4-BE49-F238E27FC236}">
                <a16:creationId xmlns:a16="http://schemas.microsoft.com/office/drawing/2014/main" id="{1341FF20-985B-4A9C-9ECE-655A7E239E70}"/>
              </a:ext>
            </a:extLst>
          </p:cNvPr>
          <p:cNvSpPr>
            <a:spLocks noGrp="1"/>
          </p:cNvSpPr>
          <p:nvPr>
            <p:ph type="body" sz="quarter" idx="60" hasCustomPrompt="1"/>
          </p:nvPr>
        </p:nvSpPr>
        <p:spPr>
          <a:xfrm>
            <a:off x="731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Tree>
    <p:extLst>
      <p:ext uri="{BB962C8B-B14F-4D97-AF65-F5344CB8AC3E}">
        <p14:creationId xmlns:p14="http://schemas.microsoft.com/office/powerpoint/2010/main" val="208261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97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163555"/>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25530CD-2927-405B-8540-946D84B92B32}"/>
              </a:ext>
            </a:extLst>
          </p:cNvPr>
          <p:cNvGrpSpPr/>
          <p:nvPr userDrawn="1"/>
        </p:nvGrpSpPr>
        <p:grpSpPr>
          <a:xfrm>
            <a:off x="516000" y="1584000"/>
            <a:ext cx="3218788" cy="3030457"/>
            <a:chOff x="3761921" y="345947"/>
            <a:chExt cx="3218788" cy="3030457"/>
          </a:xfrm>
        </p:grpSpPr>
        <p:sp>
          <p:nvSpPr>
            <p:cNvPr id="30" name="Freeform: Shape 29">
              <a:extLst>
                <a:ext uri="{FF2B5EF4-FFF2-40B4-BE49-F238E27FC236}">
                  <a16:creationId xmlns:a16="http://schemas.microsoft.com/office/drawing/2014/main" id="{35171C49-DA46-43BC-BA65-48D139B65357}"/>
                </a:ext>
              </a:extLst>
            </p:cNvPr>
            <p:cNvSpPr/>
            <p:nvPr/>
          </p:nvSpPr>
          <p:spPr>
            <a:xfrm>
              <a:off x="4941297" y="2294351"/>
              <a:ext cx="667727" cy="479394"/>
            </a:xfrm>
            <a:custGeom>
              <a:avLst/>
              <a:gdLst>
                <a:gd name="connsiteX0" fmla="*/ 206349 w 667727"/>
                <a:gd name="connsiteY0" fmla="*/ 393205 h 479394"/>
                <a:gd name="connsiteX1" fmla="*/ 245042 w 667727"/>
                <a:gd name="connsiteY1" fmla="*/ 432071 h 479394"/>
                <a:gd name="connsiteX2" fmla="*/ 432006 w 667727"/>
                <a:gd name="connsiteY2" fmla="*/ 432071 h 479394"/>
                <a:gd name="connsiteX3" fmla="*/ 470700 w 667727"/>
                <a:gd name="connsiteY3" fmla="*/ 393205 h 479394"/>
                <a:gd name="connsiteX4" fmla="*/ 615374 w 667727"/>
                <a:gd name="connsiteY4" fmla="*/ 248702 h 479394"/>
                <a:gd name="connsiteX5" fmla="*/ 615374 w 667727"/>
                <a:gd name="connsiteY5" fmla="*/ 61738 h 479394"/>
                <a:gd name="connsiteX6" fmla="*/ 615374 w 667727"/>
                <a:gd name="connsiteY6" fmla="*/ 61738 h 479394"/>
                <a:gd name="connsiteX7" fmla="*/ 521892 w 667727"/>
                <a:gd name="connsiteY7" fmla="*/ 23044 h 479394"/>
                <a:gd name="connsiteX8" fmla="*/ 155156 w 667727"/>
                <a:gd name="connsiteY8" fmla="*/ 23044 h 479394"/>
                <a:gd name="connsiteX9" fmla="*/ 61846 w 667727"/>
                <a:gd name="connsiteY9" fmla="*/ 61738 h 479394"/>
                <a:gd name="connsiteX10" fmla="*/ 61846 w 667727"/>
                <a:gd name="connsiteY10" fmla="*/ 61738 h 479394"/>
                <a:gd name="connsiteX11" fmla="*/ 61572 w 667727"/>
                <a:gd name="connsiteY11" fmla="*/ 248428 h 479394"/>
                <a:gd name="connsiteX12" fmla="*/ 61846 w 667727"/>
                <a:gd name="connsiteY12" fmla="*/ 248702 h 4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27" h="479394">
                  <a:moveTo>
                    <a:pt x="206349" y="393205"/>
                  </a:moveTo>
                  <a:lnTo>
                    <a:pt x="245042" y="432071"/>
                  </a:lnTo>
                  <a:cubicBezTo>
                    <a:pt x="296697" y="483623"/>
                    <a:pt x="380351" y="483623"/>
                    <a:pt x="432006" y="432071"/>
                  </a:cubicBezTo>
                  <a:lnTo>
                    <a:pt x="470700" y="393205"/>
                  </a:lnTo>
                  <a:lnTo>
                    <a:pt x="615374" y="248702"/>
                  </a:lnTo>
                  <a:cubicBezTo>
                    <a:pt x="666926" y="197047"/>
                    <a:pt x="666926" y="113393"/>
                    <a:pt x="615374" y="61738"/>
                  </a:cubicBezTo>
                  <a:lnTo>
                    <a:pt x="615374" y="61738"/>
                  </a:lnTo>
                  <a:cubicBezTo>
                    <a:pt x="590549" y="36998"/>
                    <a:pt x="556940" y="23096"/>
                    <a:pt x="521892" y="23044"/>
                  </a:cubicBezTo>
                  <a:lnTo>
                    <a:pt x="155156" y="23044"/>
                  </a:lnTo>
                  <a:cubicBezTo>
                    <a:pt x="120160" y="23096"/>
                    <a:pt x="86603" y="37015"/>
                    <a:pt x="61846" y="61738"/>
                  </a:cubicBezTo>
                  <a:lnTo>
                    <a:pt x="61846" y="61738"/>
                  </a:lnTo>
                  <a:cubicBezTo>
                    <a:pt x="10225" y="113205"/>
                    <a:pt x="10088" y="196791"/>
                    <a:pt x="61572" y="248428"/>
                  </a:cubicBezTo>
                  <a:cubicBezTo>
                    <a:pt x="61657" y="248514"/>
                    <a:pt x="61760" y="248617"/>
                    <a:pt x="61846" y="248702"/>
                  </a:cubicBezTo>
                  <a:close/>
                </a:path>
              </a:pathLst>
            </a:custGeom>
            <a:solidFill>
              <a:srgbClr val="F2F2F2"/>
            </a:solidFill>
            <a:ln w="1709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1EEE446-1301-4D3F-99D2-C4E33545148F}"/>
                </a:ext>
              </a:extLst>
            </p:cNvPr>
            <p:cNvSpPr/>
            <p:nvPr/>
          </p:nvSpPr>
          <p:spPr>
            <a:xfrm>
              <a:off x="4509436"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2999"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9C266F5-3238-471E-A266-415C76AF5011}"/>
                </a:ext>
              </a:extLst>
            </p:cNvPr>
            <p:cNvSpPr/>
            <p:nvPr/>
          </p:nvSpPr>
          <p:spPr>
            <a:xfrm>
              <a:off x="5630533"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3000"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6BAD0C-0046-4F32-B998-A9C095E49C2E}"/>
                </a:ext>
              </a:extLst>
            </p:cNvPr>
            <p:cNvSpPr/>
            <p:nvPr/>
          </p:nvSpPr>
          <p:spPr>
            <a:xfrm>
              <a:off x="3761921" y="345947"/>
              <a:ext cx="3218788" cy="3030457"/>
            </a:xfrm>
            <a:custGeom>
              <a:avLst/>
              <a:gdLst>
                <a:gd name="connsiteX0" fmla="*/ 176453 w 3218787"/>
                <a:gd name="connsiteY0" fmla="*/ 2455808 h 3030456"/>
                <a:gd name="connsiteX1" fmla="*/ 352288 w 3218787"/>
                <a:gd name="connsiteY1" fmla="*/ 2682835 h 3030456"/>
                <a:gd name="connsiteX2" fmla="*/ 580000 w 3218787"/>
                <a:gd name="connsiteY2" fmla="*/ 2858670 h 3030456"/>
                <a:gd name="connsiteX3" fmla="*/ 847947 w 3218787"/>
                <a:gd name="connsiteY3" fmla="*/ 2972526 h 3030456"/>
                <a:gd name="connsiteX4" fmla="*/ 1144144 w 3218787"/>
                <a:gd name="connsiteY4" fmla="*/ 3012761 h 3030456"/>
                <a:gd name="connsiteX5" fmla="*/ 1344975 w 3218787"/>
                <a:gd name="connsiteY5" fmla="*/ 2975437 h 3030456"/>
                <a:gd name="connsiteX6" fmla="*/ 1517900 w 3218787"/>
                <a:gd name="connsiteY6" fmla="*/ 2868087 h 3030456"/>
                <a:gd name="connsiteX7" fmla="*/ 1690824 w 3218787"/>
                <a:gd name="connsiteY7" fmla="*/ 2975437 h 3030456"/>
                <a:gd name="connsiteX8" fmla="*/ 1891656 w 3218787"/>
                <a:gd name="connsiteY8" fmla="*/ 3012761 h 3030456"/>
                <a:gd name="connsiteX9" fmla="*/ 2188024 w 3218787"/>
                <a:gd name="connsiteY9" fmla="*/ 2972526 h 3030456"/>
                <a:gd name="connsiteX10" fmla="*/ 2455800 w 3218787"/>
                <a:gd name="connsiteY10" fmla="*/ 2859355 h 3030456"/>
                <a:gd name="connsiteX11" fmla="*/ 2683170 w 3218787"/>
                <a:gd name="connsiteY11" fmla="*/ 2683520 h 3030456"/>
                <a:gd name="connsiteX12" fmla="*/ 2859004 w 3218787"/>
                <a:gd name="connsiteY12" fmla="*/ 2455808 h 3030456"/>
                <a:gd name="connsiteX13" fmla="*/ 2972860 w 3218787"/>
                <a:gd name="connsiteY13" fmla="*/ 2187860 h 3030456"/>
                <a:gd name="connsiteX14" fmla="*/ 3013095 w 3218787"/>
                <a:gd name="connsiteY14" fmla="*/ 1891492 h 3030456"/>
                <a:gd name="connsiteX15" fmla="*/ 3013095 w 3218787"/>
                <a:gd name="connsiteY15" fmla="*/ 1853654 h 3030456"/>
                <a:gd name="connsiteX16" fmla="*/ 2825960 w 3218787"/>
                <a:gd name="connsiteY16" fmla="*/ 1666690 h 3030456"/>
                <a:gd name="connsiteX17" fmla="*/ 2825960 w 3218787"/>
                <a:gd name="connsiteY17" fmla="*/ 1144151 h 3030456"/>
                <a:gd name="connsiteX18" fmla="*/ 2826988 w 3218787"/>
                <a:gd name="connsiteY18" fmla="*/ 1144151 h 3030456"/>
                <a:gd name="connsiteX19" fmla="*/ 2944782 w 3218787"/>
                <a:gd name="connsiteY19" fmla="*/ 1428534 h 3030456"/>
                <a:gd name="connsiteX20" fmla="*/ 3064955 w 3218787"/>
                <a:gd name="connsiteY20" fmla="*/ 1483622 h 3030456"/>
                <a:gd name="connsiteX21" fmla="*/ 3120051 w 3218787"/>
                <a:gd name="connsiteY21" fmla="*/ 1363443 h 3030456"/>
                <a:gd name="connsiteX22" fmla="*/ 3117363 w 3218787"/>
                <a:gd name="connsiteY22" fmla="*/ 1356967 h 3030456"/>
                <a:gd name="connsiteX23" fmla="*/ 2992207 w 3218787"/>
                <a:gd name="connsiteY23" fmla="*/ 1054949 h 3030456"/>
                <a:gd name="connsiteX24" fmla="*/ 3171124 w 3218787"/>
                <a:gd name="connsiteY24" fmla="*/ 876032 h 3030456"/>
                <a:gd name="connsiteX25" fmla="*/ 3176500 w 3218787"/>
                <a:gd name="connsiteY25" fmla="*/ 743938 h 3030456"/>
                <a:gd name="connsiteX26" fmla="*/ 3044410 w 3218787"/>
                <a:gd name="connsiteY26" fmla="*/ 738557 h 3030456"/>
                <a:gd name="connsiteX27" fmla="*/ 3038948 w 3218787"/>
                <a:gd name="connsiteY27" fmla="*/ 744027 h 3030456"/>
                <a:gd name="connsiteX28" fmla="*/ 2825960 w 3218787"/>
                <a:gd name="connsiteY28" fmla="*/ 957015 h 3030456"/>
                <a:gd name="connsiteX29" fmla="*/ 2825960 w 3218787"/>
                <a:gd name="connsiteY29" fmla="*/ 316510 h 3030456"/>
                <a:gd name="connsiteX30" fmla="*/ 2803189 w 3218787"/>
                <a:gd name="connsiteY30" fmla="*/ 201798 h 3030456"/>
                <a:gd name="connsiteX31" fmla="*/ 2532503 w 3218787"/>
                <a:gd name="connsiteY31" fmla="*/ 23053 h 3030456"/>
                <a:gd name="connsiteX32" fmla="*/ 2421557 w 3218787"/>
                <a:gd name="connsiteY32" fmla="*/ 45653 h 3030456"/>
                <a:gd name="connsiteX33" fmla="*/ 2328076 w 3218787"/>
                <a:gd name="connsiteY33" fmla="*/ 108659 h 3030456"/>
                <a:gd name="connsiteX34" fmla="*/ 1853647 w 3218787"/>
                <a:gd name="connsiteY34" fmla="*/ 583602 h 3030456"/>
                <a:gd name="connsiteX35" fmla="*/ 1182153 w 3218787"/>
                <a:gd name="connsiteY35" fmla="*/ 583602 h 3030456"/>
                <a:gd name="connsiteX36" fmla="*/ 707724 w 3218787"/>
                <a:gd name="connsiteY36" fmla="*/ 108659 h 3030456"/>
                <a:gd name="connsiteX37" fmla="*/ 613557 w 3218787"/>
                <a:gd name="connsiteY37" fmla="*/ 45139 h 3030456"/>
                <a:gd name="connsiteX38" fmla="*/ 503297 w 3218787"/>
                <a:gd name="connsiteY38" fmla="*/ 23053 h 3030456"/>
                <a:gd name="connsiteX39" fmla="*/ 296130 w 3218787"/>
                <a:gd name="connsiteY39" fmla="*/ 108659 h 3030456"/>
                <a:gd name="connsiteX40" fmla="*/ 233295 w 3218787"/>
                <a:gd name="connsiteY40" fmla="*/ 201285 h 3030456"/>
                <a:gd name="connsiteX41" fmla="*/ 210010 w 3218787"/>
                <a:gd name="connsiteY41" fmla="*/ 315826 h 3030456"/>
                <a:gd name="connsiteX42" fmla="*/ 210010 w 3218787"/>
                <a:gd name="connsiteY42" fmla="*/ 957358 h 3030456"/>
                <a:gd name="connsiteX43" fmla="*/ 120614 w 3218787"/>
                <a:gd name="connsiteY43" fmla="*/ 1054754 h 3030456"/>
                <a:gd name="connsiteX44" fmla="*/ 210010 w 3218787"/>
                <a:gd name="connsiteY44" fmla="*/ 1144151 h 3030456"/>
                <a:gd name="connsiteX45" fmla="*/ 210010 w 3218787"/>
                <a:gd name="connsiteY45" fmla="*/ 1666690 h 3030456"/>
                <a:gd name="connsiteX46" fmla="*/ 23047 w 3218787"/>
                <a:gd name="connsiteY46" fmla="*/ 1853654 h 3030456"/>
                <a:gd name="connsiteX47" fmla="*/ 23047 w 3218787"/>
                <a:gd name="connsiteY47" fmla="*/ 1891492 h 3030456"/>
                <a:gd name="connsiteX48" fmla="*/ 63624 w 3218787"/>
                <a:gd name="connsiteY48" fmla="*/ 2188716 h 3030456"/>
                <a:gd name="connsiteX49" fmla="*/ 176453 w 3218787"/>
                <a:gd name="connsiteY49" fmla="*/ 2455808 h 3030456"/>
                <a:gd name="connsiteX50" fmla="*/ 396803 w 3218787"/>
                <a:gd name="connsiteY50" fmla="*/ 315654 h 3030456"/>
                <a:gd name="connsiteX51" fmla="*/ 428135 w 3218787"/>
                <a:gd name="connsiteY51" fmla="*/ 240492 h 3030456"/>
                <a:gd name="connsiteX52" fmla="*/ 503297 w 3218787"/>
                <a:gd name="connsiteY52" fmla="*/ 210530 h 3030456"/>
                <a:gd name="connsiteX53" fmla="*/ 574863 w 3218787"/>
                <a:gd name="connsiteY53" fmla="*/ 241177 h 3030456"/>
                <a:gd name="connsiteX54" fmla="*/ 1105621 w 3218787"/>
                <a:gd name="connsiteY54" fmla="*/ 771935 h 3030456"/>
                <a:gd name="connsiteX55" fmla="*/ 1929836 w 3218787"/>
                <a:gd name="connsiteY55" fmla="*/ 771935 h 3030456"/>
                <a:gd name="connsiteX56" fmla="*/ 2459567 w 3218787"/>
                <a:gd name="connsiteY56" fmla="*/ 243574 h 3030456"/>
                <a:gd name="connsiteX57" fmla="*/ 2493809 w 3218787"/>
                <a:gd name="connsiteY57" fmla="*/ 220118 h 3030456"/>
                <a:gd name="connsiteX58" fmla="*/ 2533188 w 3218787"/>
                <a:gd name="connsiteY58" fmla="*/ 211386 h 3030456"/>
                <a:gd name="connsiteX59" fmla="*/ 2608350 w 3218787"/>
                <a:gd name="connsiteY59" fmla="*/ 242033 h 3030456"/>
                <a:gd name="connsiteX60" fmla="*/ 2639682 w 3218787"/>
                <a:gd name="connsiteY60" fmla="*/ 318051 h 3030456"/>
                <a:gd name="connsiteX61" fmla="*/ 2639682 w 3218787"/>
                <a:gd name="connsiteY61" fmla="*/ 957187 h 3030456"/>
                <a:gd name="connsiteX62" fmla="*/ 396803 w 3218787"/>
                <a:gd name="connsiteY62" fmla="*/ 957187 h 3030456"/>
                <a:gd name="connsiteX63" fmla="*/ 396803 w 3218787"/>
                <a:gd name="connsiteY63" fmla="*/ 1744763 h 3030456"/>
                <a:gd name="connsiteX64" fmla="*/ 396803 w 3218787"/>
                <a:gd name="connsiteY64" fmla="*/ 1145520 h 3030456"/>
                <a:gd name="connsiteX65" fmla="*/ 2639682 w 3218787"/>
                <a:gd name="connsiteY65" fmla="*/ 1145520 h 3030456"/>
                <a:gd name="connsiteX66" fmla="*/ 2639682 w 3218787"/>
                <a:gd name="connsiteY66" fmla="*/ 1744763 h 3030456"/>
                <a:gd name="connsiteX67" fmla="*/ 2825104 w 3218787"/>
                <a:gd name="connsiteY67" fmla="*/ 1930186 h 3030456"/>
                <a:gd name="connsiteX68" fmla="*/ 2790006 w 3218787"/>
                <a:gd name="connsiteY68" fmla="*/ 2148482 h 3030456"/>
                <a:gd name="connsiteX69" fmla="*/ 2706112 w 3218787"/>
                <a:gd name="connsiteY69" fmla="*/ 2349827 h 3030456"/>
                <a:gd name="connsiteX70" fmla="*/ 2577703 w 3218787"/>
                <a:gd name="connsiteY70" fmla="*/ 2526518 h 3030456"/>
                <a:gd name="connsiteX71" fmla="*/ 2409059 w 3218787"/>
                <a:gd name="connsiteY71" fmla="*/ 2670336 h 3030456"/>
                <a:gd name="connsiteX72" fmla="*/ 1892341 w 3218787"/>
                <a:gd name="connsiteY72" fmla="*/ 2826482 h 3030456"/>
                <a:gd name="connsiteX73" fmla="*/ 1767527 w 3218787"/>
                <a:gd name="connsiteY73" fmla="*/ 2806793 h 3030456"/>
                <a:gd name="connsiteX74" fmla="*/ 1671819 w 3218787"/>
                <a:gd name="connsiteY74" fmla="*/ 2753546 h 3030456"/>
                <a:gd name="connsiteX75" fmla="*/ 1593062 w 3218787"/>
                <a:gd name="connsiteY75" fmla="*/ 2673932 h 3030456"/>
                <a:gd name="connsiteX76" fmla="*/ 1534507 w 3218787"/>
                <a:gd name="connsiteY76" fmla="*/ 2597058 h 3030456"/>
                <a:gd name="connsiteX77" fmla="*/ 1501806 w 3218787"/>
                <a:gd name="connsiteY77" fmla="*/ 2597058 h 3030456"/>
                <a:gd name="connsiteX78" fmla="*/ 1443251 w 3218787"/>
                <a:gd name="connsiteY78" fmla="*/ 2673932 h 3030456"/>
                <a:gd name="connsiteX79" fmla="*/ 1364494 w 3218787"/>
                <a:gd name="connsiteY79" fmla="*/ 2753546 h 3030456"/>
                <a:gd name="connsiteX80" fmla="*/ 1268786 w 3218787"/>
                <a:gd name="connsiteY80" fmla="*/ 2806793 h 3030456"/>
                <a:gd name="connsiteX81" fmla="*/ 1143972 w 3218787"/>
                <a:gd name="connsiteY81" fmla="*/ 2826482 h 3030456"/>
                <a:gd name="connsiteX82" fmla="*/ 459124 w 3218787"/>
                <a:gd name="connsiteY82" fmla="*/ 2526518 h 3030456"/>
                <a:gd name="connsiteX83" fmla="*/ 330715 w 3218787"/>
                <a:gd name="connsiteY83" fmla="*/ 2349827 h 3030456"/>
                <a:gd name="connsiteX84" fmla="*/ 246821 w 3218787"/>
                <a:gd name="connsiteY84" fmla="*/ 2148482 h 3030456"/>
                <a:gd name="connsiteX85" fmla="*/ 211722 w 3218787"/>
                <a:gd name="connsiteY85" fmla="*/ 1930186 h 30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218787" h="3030456">
                  <a:moveTo>
                    <a:pt x="176453" y="2455808"/>
                  </a:moveTo>
                  <a:cubicBezTo>
                    <a:pt x="224906" y="2538828"/>
                    <a:pt x="284020" y="2615155"/>
                    <a:pt x="352288" y="2682835"/>
                  </a:cubicBezTo>
                  <a:cubicBezTo>
                    <a:pt x="420581" y="2750687"/>
                    <a:pt x="497077" y="2809755"/>
                    <a:pt x="580000" y="2858670"/>
                  </a:cubicBezTo>
                  <a:cubicBezTo>
                    <a:pt x="663967" y="2908150"/>
                    <a:pt x="754047" y="2946416"/>
                    <a:pt x="847947" y="2972526"/>
                  </a:cubicBezTo>
                  <a:cubicBezTo>
                    <a:pt x="944373" y="2999441"/>
                    <a:pt x="1044036" y="3012967"/>
                    <a:pt x="1144144" y="3012761"/>
                  </a:cubicBezTo>
                  <a:cubicBezTo>
                    <a:pt x="1212834" y="3013001"/>
                    <a:pt x="1280959" y="3000331"/>
                    <a:pt x="1344975" y="2975437"/>
                  </a:cubicBezTo>
                  <a:cubicBezTo>
                    <a:pt x="1408735" y="2950594"/>
                    <a:pt x="1467341" y="2914194"/>
                    <a:pt x="1517900" y="2868087"/>
                  </a:cubicBezTo>
                  <a:cubicBezTo>
                    <a:pt x="1568459" y="2914194"/>
                    <a:pt x="1627065" y="2950594"/>
                    <a:pt x="1690824" y="2975437"/>
                  </a:cubicBezTo>
                  <a:cubicBezTo>
                    <a:pt x="1754840" y="3000331"/>
                    <a:pt x="1822965" y="3012984"/>
                    <a:pt x="1891656" y="3012761"/>
                  </a:cubicBezTo>
                  <a:cubicBezTo>
                    <a:pt x="1991815" y="3012984"/>
                    <a:pt x="2091546" y="2999441"/>
                    <a:pt x="2188024" y="2972526"/>
                  </a:cubicBezTo>
                  <a:cubicBezTo>
                    <a:pt x="2281797" y="2946502"/>
                    <a:pt x="2371803" y="2908476"/>
                    <a:pt x="2455800" y="2859355"/>
                  </a:cubicBezTo>
                  <a:cubicBezTo>
                    <a:pt x="2538941" y="2810919"/>
                    <a:pt x="2615387" y="2751816"/>
                    <a:pt x="2683170" y="2683520"/>
                  </a:cubicBezTo>
                  <a:cubicBezTo>
                    <a:pt x="2751021" y="2615223"/>
                    <a:pt x="2810089" y="2538726"/>
                    <a:pt x="2859004" y="2455808"/>
                  </a:cubicBezTo>
                  <a:cubicBezTo>
                    <a:pt x="2908485" y="2371845"/>
                    <a:pt x="2946751" y="2281753"/>
                    <a:pt x="2972860" y="2187860"/>
                  </a:cubicBezTo>
                  <a:cubicBezTo>
                    <a:pt x="2999860" y="2091399"/>
                    <a:pt x="3013403" y="1991668"/>
                    <a:pt x="3013095" y="1891492"/>
                  </a:cubicBezTo>
                  <a:lnTo>
                    <a:pt x="3013095" y="1853654"/>
                  </a:lnTo>
                  <a:lnTo>
                    <a:pt x="2825960" y="1666690"/>
                  </a:lnTo>
                  <a:lnTo>
                    <a:pt x="2825960" y="1144151"/>
                  </a:lnTo>
                  <a:lnTo>
                    <a:pt x="2826988" y="1144151"/>
                  </a:lnTo>
                  <a:lnTo>
                    <a:pt x="2944782" y="1428534"/>
                  </a:lnTo>
                  <a:cubicBezTo>
                    <a:pt x="2962759" y="1476932"/>
                    <a:pt x="3016571" y="1501595"/>
                    <a:pt x="3064955" y="1483622"/>
                  </a:cubicBezTo>
                  <a:cubicBezTo>
                    <a:pt x="3113357" y="1465646"/>
                    <a:pt x="3138029" y="1411841"/>
                    <a:pt x="3120051" y="1363443"/>
                  </a:cubicBezTo>
                  <a:cubicBezTo>
                    <a:pt x="3119230" y="1361251"/>
                    <a:pt x="3118340" y="1359090"/>
                    <a:pt x="3117363" y="1356967"/>
                  </a:cubicBezTo>
                  <a:lnTo>
                    <a:pt x="2992207" y="1054949"/>
                  </a:lnTo>
                  <a:lnTo>
                    <a:pt x="3171124" y="876032"/>
                  </a:lnTo>
                  <a:cubicBezTo>
                    <a:pt x="3209082" y="841041"/>
                    <a:pt x="3211496" y="781901"/>
                    <a:pt x="3176500" y="743938"/>
                  </a:cubicBezTo>
                  <a:cubicBezTo>
                    <a:pt x="3141521" y="705976"/>
                    <a:pt x="3082368" y="703567"/>
                    <a:pt x="3044410" y="738557"/>
                  </a:cubicBezTo>
                  <a:cubicBezTo>
                    <a:pt x="3042510" y="740305"/>
                    <a:pt x="3040695" y="742129"/>
                    <a:pt x="3038948" y="744027"/>
                  </a:cubicBezTo>
                  <a:lnTo>
                    <a:pt x="2825960" y="957015"/>
                  </a:lnTo>
                  <a:lnTo>
                    <a:pt x="2825960" y="316510"/>
                  </a:lnTo>
                  <a:cubicBezTo>
                    <a:pt x="2826286" y="277120"/>
                    <a:pt x="2818530" y="238078"/>
                    <a:pt x="2803189" y="201798"/>
                  </a:cubicBezTo>
                  <a:cubicBezTo>
                    <a:pt x="2757595" y="92800"/>
                    <a:pt x="2650639" y="22174"/>
                    <a:pt x="2532503" y="23053"/>
                  </a:cubicBezTo>
                  <a:cubicBezTo>
                    <a:pt x="2494357" y="22872"/>
                    <a:pt x="2456588" y="30566"/>
                    <a:pt x="2421557" y="45653"/>
                  </a:cubicBezTo>
                  <a:cubicBezTo>
                    <a:pt x="2386665" y="60488"/>
                    <a:pt x="2354922" y="81876"/>
                    <a:pt x="2328076" y="108659"/>
                  </a:cubicBezTo>
                  <a:lnTo>
                    <a:pt x="1853647" y="583602"/>
                  </a:lnTo>
                  <a:lnTo>
                    <a:pt x="1182153" y="583602"/>
                  </a:lnTo>
                  <a:lnTo>
                    <a:pt x="707724" y="108659"/>
                  </a:lnTo>
                  <a:cubicBezTo>
                    <a:pt x="680763" y="81565"/>
                    <a:pt x="648777" y="59989"/>
                    <a:pt x="613557" y="45139"/>
                  </a:cubicBezTo>
                  <a:cubicBezTo>
                    <a:pt x="578681" y="30376"/>
                    <a:pt x="541167" y="22862"/>
                    <a:pt x="503297" y="23053"/>
                  </a:cubicBezTo>
                  <a:cubicBezTo>
                    <a:pt x="425560" y="22671"/>
                    <a:pt x="350923" y="53513"/>
                    <a:pt x="296130" y="108659"/>
                  </a:cubicBezTo>
                  <a:cubicBezTo>
                    <a:pt x="269493" y="135263"/>
                    <a:pt x="248167" y="166698"/>
                    <a:pt x="233295" y="201285"/>
                  </a:cubicBezTo>
                  <a:cubicBezTo>
                    <a:pt x="217600" y="237414"/>
                    <a:pt x="209666" y="276436"/>
                    <a:pt x="210010" y="315826"/>
                  </a:cubicBezTo>
                  <a:lnTo>
                    <a:pt x="210010" y="957358"/>
                  </a:lnTo>
                  <a:cubicBezTo>
                    <a:pt x="158429" y="959567"/>
                    <a:pt x="118405" y="1003173"/>
                    <a:pt x="120614" y="1054754"/>
                  </a:cubicBezTo>
                  <a:cubicBezTo>
                    <a:pt x="122690" y="1103239"/>
                    <a:pt x="161525" y="1142074"/>
                    <a:pt x="210010" y="1144151"/>
                  </a:cubicBezTo>
                  <a:lnTo>
                    <a:pt x="210010" y="1666690"/>
                  </a:lnTo>
                  <a:lnTo>
                    <a:pt x="23047" y="1853654"/>
                  </a:lnTo>
                  <a:lnTo>
                    <a:pt x="23047" y="1891492"/>
                  </a:lnTo>
                  <a:cubicBezTo>
                    <a:pt x="22843" y="1991959"/>
                    <a:pt x="36497" y="2091981"/>
                    <a:pt x="63624" y="2188716"/>
                  </a:cubicBezTo>
                  <a:cubicBezTo>
                    <a:pt x="89629" y="2282216"/>
                    <a:pt x="127549" y="2371982"/>
                    <a:pt x="176453" y="2455808"/>
                  </a:cubicBezTo>
                  <a:close/>
                  <a:moveTo>
                    <a:pt x="396803" y="315654"/>
                  </a:moveTo>
                  <a:cubicBezTo>
                    <a:pt x="396087" y="287286"/>
                    <a:pt x="407481" y="259954"/>
                    <a:pt x="428135" y="240492"/>
                  </a:cubicBezTo>
                  <a:cubicBezTo>
                    <a:pt x="448230" y="220941"/>
                    <a:pt x="475262" y="210165"/>
                    <a:pt x="503297" y="210530"/>
                  </a:cubicBezTo>
                  <a:cubicBezTo>
                    <a:pt x="530362" y="210417"/>
                    <a:pt x="556268" y="221512"/>
                    <a:pt x="574863" y="241177"/>
                  </a:cubicBezTo>
                  <a:lnTo>
                    <a:pt x="1105621" y="771935"/>
                  </a:lnTo>
                  <a:lnTo>
                    <a:pt x="1929836" y="771935"/>
                  </a:lnTo>
                  <a:lnTo>
                    <a:pt x="2459567" y="243574"/>
                  </a:lnTo>
                  <a:cubicBezTo>
                    <a:pt x="2469531" y="233823"/>
                    <a:pt x="2481122" y="225886"/>
                    <a:pt x="2493809" y="220118"/>
                  </a:cubicBezTo>
                  <a:cubicBezTo>
                    <a:pt x="2506136" y="214345"/>
                    <a:pt x="2519576" y="211364"/>
                    <a:pt x="2533188" y="211386"/>
                  </a:cubicBezTo>
                  <a:cubicBezTo>
                    <a:pt x="2561352" y="211011"/>
                    <a:pt x="2588472" y="222068"/>
                    <a:pt x="2608350" y="242033"/>
                  </a:cubicBezTo>
                  <a:cubicBezTo>
                    <a:pt x="2628930" y="261906"/>
                    <a:pt x="2640281" y="289455"/>
                    <a:pt x="2639682" y="318051"/>
                  </a:cubicBezTo>
                  <a:lnTo>
                    <a:pt x="2639682" y="957187"/>
                  </a:lnTo>
                  <a:lnTo>
                    <a:pt x="396803" y="957187"/>
                  </a:lnTo>
                  <a:close/>
                  <a:moveTo>
                    <a:pt x="396803" y="1744763"/>
                  </a:moveTo>
                  <a:lnTo>
                    <a:pt x="396803" y="1145520"/>
                  </a:lnTo>
                  <a:lnTo>
                    <a:pt x="2639682" y="1145520"/>
                  </a:lnTo>
                  <a:lnTo>
                    <a:pt x="2639682" y="1744763"/>
                  </a:lnTo>
                  <a:lnTo>
                    <a:pt x="2825104" y="1930186"/>
                  </a:lnTo>
                  <a:cubicBezTo>
                    <a:pt x="2822399" y="2004115"/>
                    <a:pt x="2810603" y="2077428"/>
                    <a:pt x="2790006" y="2148482"/>
                  </a:cubicBezTo>
                  <a:cubicBezTo>
                    <a:pt x="2769837" y="2218593"/>
                    <a:pt x="2741690" y="2286136"/>
                    <a:pt x="2706112" y="2349827"/>
                  </a:cubicBezTo>
                  <a:cubicBezTo>
                    <a:pt x="2670654" y="2413724"/>
                    <a:pt x="2627526" y="2473049"/>
                    <a:pt x="2577703" y="2526518"/>
                  </a:cubicBezTo>
                  <a:cubicBezTo>
                    <a:pt x="2527230" y="2580810"/>
                    <a:pt x="2470644" y="2629075"/>
                    <a:pt x="2409059" y="2670336"/>
                  </a:cubicBezTo>
                  <a:cubicBezTo>
                    <a:pt x="2409059" y="2670336"/>
                    <a:pt x="2208912" y="2826482"/>
                    <a:pt x="1892341" y="2826482"/>
                  </a:cubicBezTo>
                  <a:cubicBezTo>
                    <a:pt x="1849897" y="2827373"/>
                    <a:pt x="1807625" y="2820712"/>
                    <a:pt x="1767527" y="2806793"/>
                  </a:cubicBezTo>
                  <a:cubicBezTo>
                    <a:pt x="1732994" y="2794243"/>
                    <a:pt x="1700686" y="2776283"/>
                    <a:pt x="1671819" y="2753546"/>
                  </a:cubicBezTo>
                  <a:cubicBezTo>
                    <a:pt x="1642645" y="2730055"/>
                    <a:pt x="1616227" y="2703363"/>
                    <a:pt x="1593062" y="2673932"/>
                  </a:cubicBezTo>
                  <a:cubicBezTo>
                    <a:pt x="1573886" y="2649791"/>
                    <a:pt x="1554368" y="2623938"/>
                    <a:pt x="1534507" y="2597058"/>
                  </a:cubicBezTo>
                  <a:lnTo>
                    <a:pt x="1501806" y="2597058"/>
                  </a:lnTo>
                  <a:cubicBezTo>
                    <a:pt x="1482117" y="2623938"/>
                    <a:pt x="1462427" y="2649791"/>
                    <a:pt x="1443251" y="2673932"/>
                  </a:cubicBezTo>
                  <a:cubicBezTo>
                    <a:pt x="1420138" y="2703398"/>
                    <a:pt x="1393703" y="2730107"/>
                    <a:pt x="1364494" y="2753546"/>
                  </a:cubicBezTo>
                  <a:cubicBezTo>
                    <a:pt x="1335627" y="2776283"/>
                    <a:pt x="1303320" y="2794243"/>
                    <a:pt x="1268786" y="2806793"/>
                  </a:cubicBezTo>
                  <a:cubicBezTo>
                    <a:pt x="1228688" y="2820712"/>
                    <a:pt x="1186416" y="2827373"/>
                    <a:pt x="1143972" y="2826482"/>
                  </a:cubicBezTo>
                  <a:cubicBezTo>
                    <a:pt x="883850" y="2826362"/>
                    <a:pt x="635594" y="2717625"/>
                    <a:pt x="459124" y="2526518"/>
                  </a:cubicBezTo>
                  <a:cubicBezTo>
                    <a:pt x="409407" y="2472963"/>
                    <a:pt x="366296" y="2413655"/>
                    <a:pt x="330715" y="2349827"/>
                  </a:cubicBezTo>
                  <a:cubicBezTo>
                    <a:pt x="295206" y="2286102"/>
                    <a:pt x="267060" y="2218559"/>
                    <a:pt x="246821" y="2148482"/>
                  </a:cubicBezTo>
                  <a:cubicBezTo>
                    <a:pt x="226222" y="2077428"/>
                    <a:pt x="214434" y="2004115"/>
                    <a:pt x="211722" y="1930186"/>
                  </a:cubicBezTo>
                  <a:close/>
                </a:path>
              </a:pathLst>
            </a:custGeom>
            <a:solidFill>
              <a:srgbClr val="F2F2F2"/>
            </a:solidFill>
            <a:ln w="17094"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spTree>
    <p:extLst>
      <p:ext uri="{BB962C8B-B14F-4D97-AF65-F5344CB8AC3E}">
        <p14:creationId xmlns:p14="http://schemas.microsoft.com/office/powerpoint/2010/main" val="79819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par>
                                <p:cTn id="17" presetID="2" presetClass="entr" presetSubtype="4" decel="100000" fill="hold" nodeType="withEffect">
                                  <p:stCondLst>
                                    <p:cond delay="125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000" fill="hold"/>
                                        <p:tgtEl>
                                          <p:spTgt spid="34"/>
                                        </p:tgtEl>
                                        <p:attrNameLst>
                                          <p:attrName>ppt_x</p:attrName>
                                        </p:attrNameLst>
                                      </p:cBhvr>
                                      <p:tavLst>
                                        <p:tav tm="0">
                                          <p:val>
                                            <p:strVal val="#ppt_x"/>
                                          </p:val>
                                        </p:tav>
                                        <p:tav tm="100000">
                                          <p:val>
                                            <p:strVal val="#ppt_x"/>
                                          </p:val>
                                        </p:tav>
                                      </p:tavLst>
                                    </p:anim>
                                    <p:anim calcmode="lin" valueType="num">
                                      <p:cBhvr additive="base">
                                        <p:cTn id="20" dur="1000" fill="hold"/>
                                        <p:tgtEl>
                                          <p:spTgt spid="3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32" presetClass="emph" presetSubtype="0" fill="hold" nodeType="afterEffect">
                                  <p:stCondLst>
                                    <p:cond delay="0"/>
                                  </p:stCondLst>
                                  <p:childTnLst>
                                    <p:animRot by="120000">
                                      <p:cBhvr>
                                        <p:cTn id="23" dur="100" fill="hold">
                                          <p:stCondLst>
                                            <p:cond delay="0"/>
                                          </p:stCondLst>
                                        </p:cTn>
                                        <p:tgtEl>
                                          <p:spTgt spid="34"/>
                                        </p:tgtEl>
                                        <p:attrNameLst>
                                          <p:attrName>r</p:attrName>
                                        </p:attrNameLst>
                                      </p:cBhvr>
                                    </p:animRot>
                                    <p:animRot by="-240000">
                                      <p:cBhvr>
                                        <p:cTn id="24" dur="200" fill="hold">
                                          <p:stCondLst>
                                            <p:cond delay="200"/>
                                          </p:stCondLst>
                                        </p:cTn>
                                        <p:tgtEl>
                                          <p:spTgt spid="34"/>
                                        </p:tgtEl>
                                        <p:attrNameLst>
                                          <p:attrName>r</p:attrName>
                                        </p:attrNameLst>
                                      </p:cBhvr>
                                    </p:animRot>
                                    <p:animRot by="240000">
                                      <p:cBhvr>
                                        <p:cTn id="25" dur="200" fill="hold">
                                          <p:stCondLst>
                                            <p:cond delay="400"/>
                                          </p:stCondLst>
                                        </p:cTn>
                                        <p:tgtEl>
                                          <p:spTgt spid="34"/>
                                        </p:tgtEl>
                                        <p:attrNameLst>
                                          <p:attrName>r</p:attrName>
                                        </p:attrNameLst>
                                      </p:cBhvr>
                                    </p:animRot>
                                    <p:animRot by="-240000">
                                      <p:cBhvr>
                                        <p:cTn id="26" dur="200" fill="hold">
                                          <p:stCondLst>
                                            <p:cond delay="600"/>
                                          </p:stCondLst>
                                        </p:cTn>
                                        <p:tgtEl>
                                          <p:spTgt spid="34"/>
                                        </p:tgtEl>
                                        <p:attrNameLst>
                                          <p:attrName>r</p:attrName>
                                        </p:attrNameLst>
                                      </p:cBhvr>
                                    </p:animRot>
                                    <p:animRot by="120000">
                                      <p:cBhvr>
                                        <p:cTn id="27" dur="200" fill="hold">
                                          <p:stCondLst>
                                            <p:cond delay="800"/>
                                          </p:stCondLst>
                                        </p:cTn>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65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04544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75212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74476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36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327669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72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43242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b CTA">
    <p:bg>
      <p:bgPr>
        <a:solidFill>
          <a:srgbClr val="235689"/>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6E7404-8B91-4D1C-B674-99714334CD48}"/>
              </a:ext>
            </a:extLst>
          </p:cNvPr>
          <p:cNvGrpSpPr/>
          <p:nvPr userDrawn="1"/>
        </p:nvGrpSpPr>
        <p:grpSpPr>
          <a:xfrm>
            <a:off x="0" y="2709000"/>
            <a:ext cx="12192000" cy="4149000"/>
            <a:chOff x="0" y="2709000"/>
            <a:chExt cx="12192000" cy="4149000"/>
          </a:xfrm>
        </p:grpSpPr>
        <p:sp>
          <p:nvSpPr>
            <p:cNvPr id="9" name="Rectangle 8">
              <a:extLst>
                <a:ext uri="{FF2B5EF4-FFF2-40B4-BE49-F238E27FC236}">
                  <a16:creationId xmlns:a16="http://schemas.microsoft.com/office/drawing/2014/main" id="{1271B613-3CD5-4556-99AD-43F877D2D9A6}"/>
                </a:ext>
              </a:extLst>
            </p:cNvPr>
            <p:cNvSpPr/>
            <p:nvPr userDrawn="1"/>
          </p:nvSpPr>
          <p:spPr>
            <a:xfrm>
              <a:off x="0" y="2709000"/>
              <a:ext cx="12192000" cy="414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22B08AE2-678B-4688-A7E4-4CF82EFF5F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11" name="Group 10">
              <a:extLst>
                <a:ext uri="{FF2B5EF4-FFF2-40B4-BE49-F238E27FC236}">
                  <a16:creationId xmlns:a16="http://schemas.microsoft.com/office/drawing/2014/main" id="{959A645B-CC7A-4989-9DC6-C269D20E4EBD}"/>
                </a:ext>
              </a:extLst>
            </p:cNvPr>
            <p:cNvGrpSpPr/>
            <p:nvPr userDrawn="1"/>
          </p:nvGrpSpPr>
          <p:grpSpPr>
            <a:xfrm>
              <a:off x="11631000" y="6264000"/>
              <a:ext cx="225000" cy="225000"/>
              <a:chOff x="1776000" y="1269000"/>
              <a:chExt cx="1530000" cy="1530000"/>
            </a:xfrm>
          </p:grpSpPr>
          <p:sp>
            <p:nvSpPr>
              <p:cNvPr id="12" name="Rectangle 11">
                <a:extLst>
                  <a:ext uri="{FF2B5EF4-FFF2-40B4-BE49-F238E27FC236}">
                    <a16:creationId xmlns:a16="http://schemas.microsoft.com/office/drawing/2014/main" id="{CBDCE011-56AF-410A-A29C-20A9DE9DEA0A}"/>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77FF307-A928-4192-8AAA-6C89A81E1E62}"/>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E354073-C39B-44C7-8378-EE06749DBAEA}"/>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C30D775-DD2F-4354-ABF6-EA6879638DB0}"/>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Subtitle 2">
            <a:extLst>
              <a:ext uri="{FF2B5EF4-FFF2-40B4-BE49-F238E27FC236}">
                <a16:creationId xmlns:a16="http://schemas.microsoft.com/office/drawing/2014/main" id="{E16D309E-1A22-41D8-8403-7BBFE4468DA2}"/>
              </a:ext>
            </a:extLst>
          </p:cNvPr>
          <p:cNvSpPr txBox="1">
            <a:spLocks/>
          </p:cNvSpPr>
          <p:nvPr userDrawn="1"/>
        </p:nvSpPr>
        <p:spPr>
          <a:xfrm>
            <a:off x="335587" y="4599000"/>
            <a:ext cx="1350000" cy="360000"/>
          </a:xfrm>
          <a:prstGeom prst="rect">
            <a:avLst/>
          </a:prstGeom>
        </p:spPr>
        <p:txBody>
          <a:bodyPr vert="horz" lIns="91440" tIns="45720" rIns="91440" bIns="45720" rtlCol="0" anchor="ctr"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14000"/>
              </a:lnSpc>
            </a:pPr>
            <a:r>
              <a:rPr lang="en-US">
                <a:solidFill>
                  <a:srgbClr val="3076BC"/>
                </a:solidFill>
              </a:rPr>
              <a:t>You’ll learn:</a:t>
            </a:r>
          </a:p>
        </p:txBody>
      </p:sp>
      <p:sp>
        <p:nvSpPr>
          <p:cNvPr id="6" name="Subtitle 2">
            <a:extLst>
              <a:ext uri="{FF2B5EF4-FFF2-40B4-BE49-F238E27FC236}">
                <a16:creationId xmlns:a16="http://schemas.microsoft.com/office/drawing/2014/main" id="{C38A7624-8D9A-4E1F-A854-3A6B1B203A9F}"/>
              </a:ext>
            </a:extLst>
          </p:cNvPr>
          <p:cNvSpPr txBox="1">
            <a:spLocks/>
          </p:cNvSpPr>
          <p:nvPr userDrawn="1"/>
        </p:nvSpPr>
        <p:spPr>
          <a:xfrm>
            <a:off x="336000" y="549000"/>
            <a:ext cx="10845000" cy="1575000"/>
          </a:xfrm>
          <a:prstGeom prst="rect">
            <a:avLst/>
          </a:prstGeom>
        </p:spPr>
        <p:txBody>
          <a:bodyPr vert="horz" lIns="91440" tIns="45720" rIns="91440" bIns="45720" rtlCol="0" anchor="b">
            <a:noAutofit/>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114000"/>
              </a:lnSpc>
            </a:pPr>
            <a:r>
              <a:rPr lang="en-US" b="0"/>
              <a:t>Learn more!</a:t>
            </a:r>
          </a:p>
          <a:p>
            <a:pPr lvl="0">
              <a:lnSpc>
                <a:spcPct val="114000"/>
              </a:lnSpc>
            </a:pPr>
            <a:r>
              <a:rPr lang="en-US"/>
              <a:t>Check out the lab for this session!</a:t>
            </a:r>
          </a:p>
        </p:txBody>
      </p:sp>
      <p:sp>
        <p:nvSpPr>
          <p:cNvPr id="17" name="Text Placeholder 16">
            <a:extLst>
              <a:ext uri="{FF2B5EF4-FFF2-40B4-BE49-F238E27FC236}">
                <a16:creationId xmlns:a16="http://schemas.microsoft.com/office/drawing/2014/main" id="{BF03D2CA-E485-4D4F-95E8-AC1B1EEA6C1B}"/>
              </a:ext>
            </a:extLst>
          </p:cNvPr>
          <p:cNvSpPr>
            <a:spLocks noGrp="1"/>
          </p:cNvSpPr>
          <p:nvPr>
            <p:ph type="body" sz="quarter" idx="10" hasCustomPrompt="1"/>
          </p:nvPr>
        </p:nvSpPr>
        <p:spPr>
          <a:xfrm>
            <a:off x="1776000" y="4599000"/>
            <a:ext cx="6480175" cy="1575000"/>
          </a:xfrm>
        </p:spPr>
        <p:txBody>
          <a:bodyPr vert="horz" lIns="91440" tIns="45720" rIns="91440" bIns="45720" rtlCol="0">
            <a:noAutofit/>
          </a:bodyPr>
          <a:lstStyle>
            <a:lvl1pPr marL="285750" indent="-285750">
              <a:lnSpc>
                <a:spcPct val="114000"/>
              </a:lnSpc>
              <a:spcBef>
                <a:spcPts val="0"/>
              </a:spcBef>
              <a:spcAft>
                <a:spcPts val="0"/>
              </a:spcAft>
              <a:buFont typeface="Arial" panose="020B0604020202020204" pitchFamily="34" charset="0"/>
              <a:buChar char="•"/>
              <a:defRPr lang="en-US" sz="1800" dirty="0" smtClean="0">
                <a:solidFill>
                  <a:srgbClr val="F2F2F2"/>
                </a:solidFill>
              </a:defRPr>
            </a:lvl1pPr>
            <a:lvl2pPr>
              <a:defRPr lang="en-US" sz="2000" dirty="0" smtClean="0"/>
            </a:lvl2pPr>
            <a:lvl3pPr>
              <a:defRPr lang="en-US" sz="1800" dirty="0" smtClean="0"/>
            </a:lvl3pPr>
            <a:lvl4pPr>
              <a:defRPr lang="en-US" sz="1600" dirty="0" smtClean="0"/>
            </a:lvl4pPr>
            <a:lvl5pPr>
              <a:defRPr lang="en-US" sz="1600" dirty="0"/>
            </a:lvl5pPr>
          </a:lstStyle>
          <a:p>
            <a:pPr lvl="0">
              <a:lnSpc>
                <a:spcPct val="90000"/>
              </a:lnSpc>
              <a:spcBef>
                <a:spcPts val="0"/>
              </a:spcBef>
            </a:pPr>
            <a:r>
              <a:rPr lang="en-US"/>
              <a:t>List of things people will learn</a:t>
            </a:r>
          </a:p>
          <a:p>
            <a:pPr lvl="0">
              <a:lnSpc>
                <a:spcPct val="90000"/>
              </a:lnSpc>
              <a:spcBef>
                <a:spcPts val="0"/>
              </a:spcBef>
            </a:pPr>
            <a:r>
              <a:rPr lang="en-GB"/>
              <a:t>M</a:t>
            </a:r>
            <a:r>
              <a:rPr lang="en-US" err="1"/>
              <a:t>ake</a:t>
            </a:r>
            <a:r>
              <a:rPr lang="en-US"/>
              <a:t> sure you limit</a:t>
            </a:r>
          </a:p>
          <a:p>
            <a:pPr lvl="0">
              <a:lnSpc>
                <a:spcPct val="90000"/>
              </a:lnSpc>
              <a:spcBef>
                <a:spcPts val="0"/>
              </a:spcBef>
            </a:pPr>
            <a:r>
              <a:rPr lang="en-GB"/>
              <a:t>T</a:t>
            </a:r>
            <a:r>
              <a:rPr lang="en-US"/>
              <a:t>he number of items</a:t>
            </a:r>
          </a:p>
          <a:p>
            <a:pPr lvl="0">
              <a:lnSpc>
                <a:spcPct val="90000"/>
              </a:lnSpc>
              <a:spcBef>
                <a:spcPts val="0"/>
              </a:spcBef>
            </a:pPr>
            <a:r>
              <a:rPr lang="en-GB"/>
              <a:t>T</a:t>
            </a:r>
            <a:r>
              <a:rPr lang="en-US"/>
              <a:t>o four</a:t>
            </a:r>
          </a:p>
        </p:txBody>
      </p:sp>
      <p:sp>
        <p:nvSpPr>
          <p:cNvPr id="19" name="Text Placeholder 18">
            <a:extLst>
              <a:ext uri="{FF2B5EF4-FFF2-40B4-BE49-F238E27FC236}">
                <a16:creationId xmlns:a16="http://schemas.microsoft.com/office/drawing/2014/main" id="{979C8349-B759-404F-9AA4-83E06C6F8C5B}"/>
              </a:ext>
            </a:extLst>
          </p:cNvPr>
          <p:cNvSpPr>
            <a:spLocks noGrp="1"/>
          </p:cNvSpPr>
          <p:nvPr>
            <p:ph type="body" sz="quarter" idx="11" hasCustomPrompt="1"/>
          </p:nvPr>
        </p:nvSpPr>
        <p:spPr>
          <a:xfrm>
            <a:off x="336550" y="2708275"/>
            <a:ext cx="11519450" cy="1441450"/>
          </a:xfrm>
        </p:spPr>
        <p:txBody>
          <a:bodyPr vert="horz" lIns="91440" tIns="45720" rIns="91440" bIns="45720" rtlCol="0" anchor="b">
            <a:normAutofit/>
          </a:bodyPr>
          <a:lstStyle>
            <a:lvl1pPr>
              <a:defRPr lang="en-US" sz="4800" b="0" spc="-100" smtClean="0">
                <a:solidFill>
                  <a:srgbClr val="F2F2F2"/>
                </a:solidFill>
                <a:latin typeface="+mj-lt"/>
                <a:ea typeface="+mj-ea"/>
                <a:cs typeface="+mj-cs"/>
              </a:defRPr>
            </a:lvl1pPr>
            <a:lvl2pPr>
              <a:defRPr lang="en-US"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US" sz="1800">
                <a:solidFill>
                  <a:schemeClr val="tx1"/>
                </a:solidFill>
              </a:defRPr>
            </a:lvl5pPr>
          </a:lstStyle>
          <a:p>
            <a:pPr lvl="0">
              <a:lnSpc>
                <a:spcPct val="90000"/>
              </a:lnSpc>
              <a:spcBef>
                <a:spcPct val="0"/>
              </a:spcBef>
            </a:pPr>
            <a:r>
              <a:rPr lang="en-US"/>
              <a:t>[URL of lab] – make sure it is white</a:t>
            </a:r>
          </a:p>
        </p:txBody>
      </p:sp>
    </p:spTree>
    <p:extLst>
      <p:ext uri="{BB962C8B-B14F-4D97-AF65-F5344CB8AC3E}">
        <p14:creationId xmlns:p14="http://schemas.microsoft.com/office/powerpoint/2010/main" val="284697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7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entr" presetSubtype="0" fill="hold" grpId="0" nodeType="withEffect">
                                  <p:stCondLst>
                                    <p:cond delay="1500"/>
                                  </p:stCondLst>
                                  <p:childTnLst>
                                    <p:set>
                                      <p:cBhvr>
                                        <p:cTn id="14" dur="1" fill="hold">
                                          <p:stCondLst>
                                            <p:cond delay="0"/>
                                          </p:stCondLst>
                                        </p:cTn>
                                        <p:tgtEl>
                                          <p:spTgt spid="19">
                                            <p:txEl>
                                              <p:pRg st="0" end="0"/>
                                            </p:txEl>
                                          </p:spTgt>
                                        </p:tgtEl>
                                        <p:attrNameLst>
                                          <p:attrName>style.visibility</p:attrName>
                                        </p:attrNameLst>
                                      </p:cBhvr>
                                      <p:to>
                                        <p:strVal val="visible"/>
                                      </p:to>
                                    </p:set>
                                    <p:animEffect transition="in" filter="fade">
                                      <p:cBhvr>
                                        <p:cTn id="15" dur="750"/>
                                        <p:tgtEl>
                                          <p:spTgt spid="19">
                                            <p:txEl>
                                              <p:pRg st="0" end="0"/>
                                            </p:txEl>
                                          </p:spTgt>
                                        </p:tgtEl>
                                      </p:cBhvr>
                                    </p:animEffect>
                                    <p:anim calcmode="lin" valueType="num">
                                      <p:cBhvr>
                                        <p:cTn id="16" dur="75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17" dur="750" fill="hold"/>
                                        <p:tgtEl>
                                          <p:spTgt spid="19">
                                            <p:txEl>
                                              <p:pRg st="0" end="0"/>
                                            </p:txEl>
                                          </p:spTgt>
                                        </p:tgtEl>
                                        <p:attrNameLst>
                                          <p:attrName>ppt_y</p:attrName>
                                        </p:attrNameLst>
                                      </p:cBhvr>
                                      <p:tavLst>
                                        <p:tav tm="0">
                                          <p:val>
                                            <p:strVal val="#ppt_y+.1"/>
                                          </p:val>
                                        </p:tav>
                                        <p:tav tm="100000">
                                          <p:val>
                                            <p:strVal val="#ppt_y"/>
                                          </p:val>
                                        </p:tav>
                                      </p:tavLst>
                                    </p:anim>
                                  </p:childTnLst>
                                </p:cTn>
                              </p:par>
                              <p:par>
                                <p:cTn id="18" presetID="2" presetClass="entr" presetSubtype="4" decel="10000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ppt_x"/>
                                          </p:val>
                                        </p:tav>
                                        <p:tav tm="100000">
                                          <p:val>
                                            <p:strVal val="#ppt_x"/>
                                          </p:val>
                                        </p:tav>
                                      </p:tavLst>
                                    </p:anim>
                                    <p:anim calcmode="lin" valueType="num">
                                      <p:cBhvr additive="base">
                                        <p:cTn id="21" dur="500" fill="hold"/>
                                        <p:tgtEl>
                                          <p:spTgt spid="8"/>
                                        </p:tgtEl>
                                        <p:attrNameLst>
                                          <p:attrName>ppt_y</p:attrName>
                                        </p:attrNameLst>
                                      </p:cBhvr>
                                      <p:tavLst>
                                        <p:tav tm="0">
                                          <p:val>
                                            <p:strVal val="1+#ppt_h/2"/>
                                          </p:val>
                                        </p:tav>
                                        <p:tav tm="100000">
                                          <p:val>
                                            <p:strVal val="#ppt_y"/>
                                          </p:val>
                                        </p:tav>
                                      </p:tavLst>
                                    </p:anim>
                                  </p:childTnLst>
                                </p:cTn>
                              </p:par>
                              <p:par>
                                <p:cTn id="22" presetID="10" presetClass="entr" presetSubtype="0" fill="hold" grpId="0" nodeType="withEffect">
                                  <p:stCondLst>
                                    <p:cond delay="2000"/>
                                  </p:stCondLst>
                                  <p:childTnLst>
                                    <p:set>
                                      <p:cBhvr>
                                        <p:cTn id="23" dur="1" fill="hold">
                                          <p:stCondLst>
                                            <p:cond delay="0"/>
                                          </p:stCondLst>
                                        </p:cTn>
                                        <p:tgtEl>
                                          <p:spTgt spid="17">
                                            <p:txEl>
                                              <p:pRg st="0" end="0"/>
                                            </p:txEl>
                                          </p:spTgt>
                                        </p:tgtEl>
                                        <p:attrNameLst>
                                          <p:attrName>style.visibility</p:attrName>
                                        </p:attrNameLst>
                                      </p:cBhvr>
                                      <p:to>
                                        <p:strVal val="visible"/>
                                      </p:to>
                                    </p:set>
                                    <p:animEffect transition="in" filter="fade">
                                      <p:cBhvr>
                                        <p:cTn id="24" dur="500"/>
                                        <p:tgtEl>
                                          <p:spTgt spid="17">
                                            <p:txEl>
                                              <p:pRg st="0" end="0"/>
                                            </p:txEl>
                                          </p:spTgt>
                                        </p:tgtEl>
                                      </p:cBhvr>
                                    </p:animEffect>
                                  </p:childTnLst>
                                </p:cTn>
                              </p:par>
                              <p:par>
                                <p:cTn id="25" presetID="10" presetClass="entr" presetSubtype="0" fill="hold" grpId="0" nodeType="withEffect">
                                  <p:stCondLst>
                                    <p:cond delay="2250"/>
                                  </p:stCondLst>
                                  <p:childTnLst>
                                    <p:set>
                                      <p:cBhvr>
                                        <p:cTn id="26" dur="1" fill="hold">
                                          <p:stCondLst>
                                            <p:cond delay="0"/>
                                          </p:stCondLst>
                                        </p:cTn>
                                        <p:tgtEl>
                                          <p:spTgt spid="17">
                                            <p:txEl>
                                              <p:pRg st="1" end="1"/>
                                            </p:txEl>
                                          </p:spTgt>
                                        </p:tgtEl>
                                        <p:attrNameLst>
                                          <p:attrName>style.visibility</p:attrName>
                                        </p:attrNameLst>
                                      </p:cBhvr>
                                      <p:to>
                                        <p:strVal val="visible"/>
                                      </p:to>
                                    </p:set>
                                    <p:animEffect transition="in" filter="fade">
                                      <p:cBhvr>
                                        <p:cTn id="27" dur="500"/>
                                        <p:tgtEl>
                                          <p:spTgt spid="17">
                                            <p:txEl>
                                              <p:pRg st="1" end="1"/>
                                            </p:txEl>
                                          </p:spTgt>
                                        </p:tgtEl>
                                      </p:cBhvr>
                                    </p:animEffect>
                                  </p:childTnLst>
                                </p:cTn>
                              </p:par>
                              <p:par>
                                <p:cTn id="28" presetID="10" presetClass="entr" presetSubtype="0" fill="hold" grpId="0" nodeType="withEffect">
                                  <p:stCondLst>
                                    <p:cond delay="2500"/>
                                  </p:stCondLst>
                                  <p:childTnLst>
                                    <p:set>
                                      <p:cBhvr>
                                        <p:cTn id="29" dur="1" fill="hold">
                                          <p:stCondLst>
                                            <p:cond delay="0"/>
                                          </p:stCondLst>
                                        </p:cTn>
                                        <p:tgtEl>
                                          <p:spTgt spid="17">
                                            <p:txEl>
                                              <p:pRg st="2" end="2"/>
                                            </p:txEl>
                                          </p:spTgt>
                                        </p:tgtEl>
                                        <p:attrNameLst>
                                          <p:attrName>style.visibility</p:attrName>
                                        </p:attrNameLst>
                                      </p:cBhvr>
                                      <p:to>
                                        <p:strVal val="visible"/>
                                      </p:to>
                                    </p:set>
                                    <p:animEffect transition="in" filter="fade">
                                      <p:cBhvr>
                                        <p:cTn id="30" dur="500"/>
                                        <p:tgtEl>
                                          <p:spTgt spid="17">
                                            <p:txEl>
                                              <p:pRg st="2" end="2"/>
                                            </p:txEl>
                                          </p:spTgt>
                                        </p:tgtEl>
                                      </p:cBhvr>
                                    </p:animEffect>
                                  </p:childTnLst>
                                </p:cTn>
                              </p:par>
                              <p:par>
                                <p:cTn id="31" presetID="10" presetClass="entr" presetSubtype="0" fill="hold" grpId="0" nodeType="withEffect">
                                  <p:stCondLst>
                                    <p:cond delay="2750"/>
                                  </p:stCondLst>
                                  <p:childTnLst>
                                    <p:set>
                                      <p:cBhvr>
                                        <p:cTn id="32" dur="1" fill="hold">
                                          <p:stCondLst>
                                            <p:cond delay="0"/>
                                          </p:stCondLst>
                                        </p:cTn>
                                        <p:tgtEl>
                                          <p:spTgt spid="17">
                                            <p:txEl>
                                              <p:pRg st="3" end="3"/>
                                            </p:txEl>
                                          </p:spTgt>
                                        </p:tgtEl>
                                        <p:attrNameLst>
                                          <p:attrName>style.visibility</p:attrName>
                                        </p:attrNameLst>
                                      </p:cBhvr>
                                      <p:to>
                                        <p:strVal val="visible"/>
                                      </p:to>
                                    </p:set>
                                    <p:animEffect transition="in" filter="fade">
                                      <p:cBhvr>
                                        <p:cTn id="33"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7" grpId="0" uiExpand="1" build="p">
        <p:tmplLst>
          <p:tmpl lvl="1">
            <p:tnLst>
              <p:par>
                <p:cTn presetID="10" presetClass="entr" presetSubtype="0" fill="hold" nodeType="withEffect">
                  <p:stCondLst>
                    <p:cond delay="275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42" presetClass="entr" presetSubtype="0" fill="hold" nodeType="withEffect">
                  <p:stCondLst>
                    <p:cond delay="1500"/>
                  </p:stCondLst>
                  <p:childTnLst>
                    <p:set>
                      <p:cBhvr>
                        <p:cTn dur="1" fill="hold">
                          <p:stCondLst>
                            <p:cond delay="0"/>
                          </p:stCondLst>
                        </p:cTn>
                        <p:tgtEl>
                          <p:spTgt spid="19"/>
                        </p:tgtEl>
                        <p:attrNameLst>
                          <p:attrName>style.visibility</p:attrName>
                        </p:attrNameLst>
                      </p:cBhvr>
                      <p:to>
                        <p:strVal val="visible"/>
                      </p:to>
                    </p:set>
                    <p:animEffect transition="in" filter="fade">
                      <p:cBhvr>
                        <p:cTn dur="750"/>
                        <p:tgtEl>
                          <p:spTgt spid="19"/>
                        </p:tgtEl>
                      </p:cBhvr>
                    </p:animEffect>
                    <p:anim calcmode="lin" valueType="num">
                      <p:cBhvr>
                        <p:cTn dur="750" fill="hold"/>
                        <p:tgtEl>
                          <p:spTgt spid="19"/>
                        </p:tgtEl>
                        <p:attrNameLst>
                          <p:attrName>ppt_x</p:attrName>
                        </p:attrNameLst>
                      </p:cBhvr>
                      <p:tavLst>
                        <p:tav tm="0">
                          <p:val>
                            <p:strVal val="#ppt_x"/>
                          </p:val>
                        </p:tav>
                        <p:tav tm="100000">
                          <p:val>
                            <p:strVal val="#ppt_x"/>
                          </p:val>
                        </p:tav>
                      </p:tavLst>
                    </p:anim>
                    <p:anim calcmode="lin" valueType="num">
                      <p:cBhvr>
                        <p:cTn dur="750" fill="hold"/>
                        <p:tgtEl>
                          <p:spTgt spid="1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terstitial">
    <p:bg>
      <p:bgPr>
        <a:solidFill>
          <a:srgbClr val="235689"/>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5289397-00E1-42AA-8577-7E469339DA7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6002" y="2259000"/>
            <a:ext cx="4679998" cy="1615296"/>
          </a:xfrm>
          <a:prstGeom prst="rect">
            <a:avLst/>
          </a:prstGeom>
        </p:spPr>
      </p:pic>
      <p:sp>
        <p:nvSpPr>
          <p:cNvPr id="9" name="TextBox 8">
            <a:extLst>
              <a:ext uri="{FF2B5EF4-FFF2-40B4-BE49-F238E27FC236}">
                <a16:creationId xmlns:a16="http://schemas.microsoft.com/office/drawing/2014/main" id="{C532BFE4-A0A1-48E5-B3BC-F4E4D64538E1}"/>
              </a:ext>
            </a:extLst>
          </p:cNvPr>
          <p:cNvSpPr txBox="1"/>
          <p:nvPr userDrawn="1"/>
        </p:nvSpPr>
        <p:spPr>
          <a:xfrm>
            <a:off x="3936000" y="4014000"/>
            <a:ext cx="4320000" cy="584775"/>
          </a:xfrm>
          <a:prstGeom prst="rect">
            <a:avLst/>
          </a:prstGeom>
          <a:noFill/>
        </p:spPr>
        <p:txBody>
          <a:bodyPr wrap="square" rtlCol="0">
            <a:spAutoFit/>
          </a:bodyPr>
          <a:lstStyle/>
          <a:p>
            <a:pPr algn="ctr"/>
            <a:r>
              <a:rPr lang="en-US" sz="3200" b="1" spc="-100" baseline="0">
                <a:solidFill>
                  <a:srgbClr val="F2F2F2"/>
                </a:solidFill>
              </a:rPr>
              <a:t>Insider Dev Tour</a:t>
            </a:r>
          </a:p>
        </p:txBody>
      </p:sp>
    </p:spTree>
    <p:extLst>
      <p:ext uri="{BB962C8B-B14F-4D97-AF65-F5344CB8AC3E}">
        <p14:creationId xmlns:p14="http://schemas.microsoft.com/office/powerpoint/2010/main" val="22078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ssion eval slide">
    <p:bg>
      <p:bgPr>
        <a:solidFill>
          <a:srgbClr val="235689"/>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userDrawn="1"/>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8" name="Group 7">
              <a:extLst>
                <a:ext uri="{FF2B5EF4-FFF2-40B4-BE49-F238E27FC236}">
                  <a16:creationId xmlns:a16="http://schemas.microsoft.com/office/drawing/2014/main" id="{FEDFAA6E-44F7-49BA-9E49-6AB9A10A10B9}"/>
                </a:ext>
              </a:extLst>
            </p:cNvPr>
            <p:cNvGrpSpPr/>
            <p:nvPr userDrawn="1"/>
          </p:nvGrpSpPr>
          <p:grpSpPr>
            <a:xfrm>
              <a:off x="11631000" y="6264000"/>
              <a:ext cx="225000" cy="225000"/>
              <a:chOff x="1776000" y="1269000"/>
              <a:chExt cx="1530000" cy="1530000"/>
            </a:xfrm>
          </p:grpSpPr>
          <p:sp>
            <p:nvSpPr>
              <p:cNvPr id="4" name="Rectangle 3">
                <a:extLst>
                  <a:ext uri="{FF2B5EF4-FFF2-40B4-BE49-F238E27FC236}">
                    <a16:creationId xmlns:a16="http://schemas.microsoft.com/office/drawing/2014/main" id="{8A337F59-92A8-439F-AAA4-2FE0EBDB96C2}"/>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BA7FC4-69AC-4A78-A71B-8EC8418181FB}"/>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FA46DA2-8688-4642-9A34-596ADF0F96C2}"/>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0D8E9DE-C1AC-48CC-B8C9-C6D1EFE6AD3B}"/>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solidFill>
                  <a:srgbClr val="3076BC"/>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Tree>
    <p:extLst>
      <p:ext uri="{BB962C8B-B14F-4D97-AF65-F5344CB8AC3E}">
        <p14:creationId xmlns:p14="http://schemas.microsoft.com/office/powerpoint/2010/main" val="9802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89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4126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87877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57742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6.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3.emf"/><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2.svg"/><Relationship Id="rId3" Type="http://schemas.openxmlformats.org/officeDocument/2006/relationships/slideLayout" Target="../slideLayouts/slideLayout43.xml"/><Relationship Id="rId21" Type="http://schemas.openxmlformats.org/officeDocument/2006/relationships/image" Target="../media/image5.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png"/><Relationship Id="rId2" Type="http://schemas.openxmlformats.org/officeDocument/2006/relationships/slideLayout" Target="../slideLayouts/slideLayout42.xml"/><Relationship Id="rId16" Type="http://schemas.openxmlformats.org/officeDocument/2006/relationships/theme" Target="../theme/theme3.xml"/><Relationship Id="rId20" Type="http://schemas.openxmlformats.org/officeDocument/2006/relationships/image" Target="../media/image4.sv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3.pn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6.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userDrawn="1"/>
        </p:nvSpPr>
        <p:spPr>
          <a:xfrm>
            <a:off x="1776000" y="-711000"/>
            <a:ext cx="720000" cy="315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userDrawn="1"/>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8C1E4AA-0136-4853-A4FF-F85F4D52669F}"/>
              </a:ext>
            </a:extLst>
          </p:cNvPr>
          <p:cNvSpPr/>
          <p:nvPr userDrawn="1"/>
        </p:nvSpPr>
        <p:spPr>
          <a:xfrm>
            <a:off x="2496000" y="-396000"/>
            <a:ext cx="720000" cy="315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09EA1A-01C7-499C-8D78-0580056AA492}"/>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51000" y="-891000"/>
            <a:ext cx="495000" cy="673333"/>
          </a:xfrm>
          <a:prstGeom prst="rect">
            <a:avLst/>
          </a:prstGeom>
        </p:spPr>
      </p:pic>
      <p:pic>
        <p:nvPicPr>
          <p:cNvPr id="16" name="Graphic 15">
            <a:extLst>
              <a:ext uri="{FF2B5EF4-FFF2-40B4-BE49-F238E27FC236}">
                <a16:creationId xmlns:a16="http://schemas.microsoft.com/office/drawing/2014/main" id="{C66C5DB2-3EE4-4C6F-BD9B-571CB9690FEE}"/>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261000" y="-531000"/>
            <a:ext cx="912649" cy="315000"/>
          </a:xfrm>
          <a:prstGeom prst="rect">
            <a:avLst/>
          </a:prstGeom>
        </p:spPr>
      </p:pic>
      <p:pic>
        <p:nvPicPr>
          <p:cNvPr id="18" name="Graphic 17">
            <a:extLst>
              <a:ext uri="{FF2B5EF4-FFF2-40B4-BE49-F238E27FC236}">
                <a16:creationId xmlns:a16="http://schemas.microsoft.com/office/drawing/2014/main" id="{EE386FFC-9EE6-4482-8E4E-473BC48274DC}"/>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061000" y="-891000"/>
            <a:ext cx="2569140" cy="726952"/>
          </a:xfrm>
          <a:prstGeom prst="rect">
            <a:avLst/>
          </a:prstGeom>
        </p:spPr>
      </p:pic>
      <p:sp>
        <p:nvSpPr>
          <p:cNvPr id="21" name="Rectangle 20">
            <a:extLst>
              <a:ext uri="{FF2B5EF4-FFF2-40B4-BE49-F238E27FC236}">
                <a16:creationId xmlns:a16="http://schemas.microsoft.com/office/drawing/2014/main" id="{E141C557-EE0F-4931-9188-E65FFDC28ABB}"/>
              </a:ext>
            </a:extLst>
          </p:cNvPr>
          <p:cNvSpPr/>
          <p:nvPr userDrawn="1"/>
        </p:nvSpPr>
        <p:spPr>
          <a:xfrm>
            <a:off x="1056000" y="-711000"/>
            <a:ext cx="720000" cy="315000"/>
          </a:xfrm>
          <a:prstGeom prst="rect">
            <a:avLst/>
          </a:prstGeom>
          <a:solidFill>
            <a:srgbClr val="3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E91E93B-7A79-4D1C-845A-D2D5C8CA5748}"/>
              </a:ext>
            </a:extLst>
          </p:cNvPr>
          <p:cNvSpPr/>
          <p:nvPr userDrawn="1"/>
        </p:nvSpPr>
        <p:spPr>
          <a:xfrm>
            <a:off x="2496000" y="-711000"/>
            <a:ext cx="720000" cy="315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userDrawn="1"/>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userDrawn="1"/>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5910807"/>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50" r:id="rId3"/>
    <p:sldLayoutId id="2147483667" r:id="rId4"/>
    <p:sldLayoutId id="2147483652" r:id="rId5"/>
    <p:sldLayoutId id="2147483653" r:id="rId6"/>
    <p:sldLayoutId id="2147483668" r:id="rId7"/>
    <p:sldLayoutId id="2147483669" r:id="rId8"/>
    <p:sldLayoutId id="2147483670" r:id="rId9"/>
    <p:sldLayoutId id="2147483654" r:id="rId10"/>
    <p:sldLayoutId id="2147483655" r:id="rId11"/>
    <p:sldLayoutId id="2147483657" r:id="rId12"/>
    <p:sldLayoutId id="2147483665" r:id="rId13"/>
    <p:sldLayoutId id="2147483671" r:id="rId14"/>
    <p:sldLayoutId id="2147483672" r:id="rId15"/>
    <p:sldLayoutId id="2147483673" r:id="rId16"/>
    <p:sldLayoutId id="2147483680" r:id="rId17"/>
    <p:sldLayoutId id="214748368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2330638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31" r:id="rId21"/>
    <p:sldLayoutId id="214748373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userDrawn="1"/>
        </p:nvSpPr>
        <p:spPr>
          <a:xfrm>
            <a:off x="1776000" y="-711000"/>
            <a:ext cx="720000" cy="315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userDrawn="1"/>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8C1E4AA-0136-4853-A4FF-F85F4D52669F}"/>
              </a:ext>
            </a:extLst>
          </p:cNvPr>
          <p:cNvSpPr/>
          <p:nvPr userDrawn="1"/>
        </p:nvSpPr>
        <p:spPr>
          <a:xfrm>
            <a:off x="2496000" y="-396000"/>
            <a:ext cx="720000" cy="315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09EA1A-01C7-499C-8D78-0580056AA492}"/>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251000" y="-891000"/>
            <a:ext cx="495000" cy="673333"/>
          </a:xfrm>
          <a:prstGeom prst="rect">
            <a:avLst/>
          </a:prstGeom>
        </p:spPr>
      </p:pic>
      <p:pic>
        <p:nvPicPr>
          <p:cNvPr id="16" name="Graphic 15">
            <a:extLst>
              <a:ext uri="{FF2B5EF4-FFF2-40B4-BE49-F238E27FC236}">
                <a16:creationId xmlns:a16="http://schemas.microsoft.com/office/drawing/2014/main" id="{C66C5DB2-3EE4-4C6F-BD9B-571CB9690FEE}"/>
              </a:ext>
            </a:extLst>
          </p:cNvPr>
          <p:cNvPicPr>
            <a:picLocks noChangeAspect="1"/>
          </p:cNvPicPr>
          <p:nvPr userDrawn="1"/>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261000" y="-531000"/>
            <a:ext cx="912649" cy="315000"/>
          </a:xfrm>
          <a:prstGeom prst="rect">
            <a:avLst/>
          </a:prstGeom>
        </p:spPr>
      </p:pic>
      <p:pic>
        <p:nvPicPr>
          <p:cNvPr id="18" name="Graphic 17">
            <a:extLst>
              <a:ext uri="{FF2B5EF4-FFF2-40B4-BE49-F238E27FC236}">
                <a16:creationId xmlns:a16="http://schemas.microsoft.com/office/drawing/2014/main" id="{EE386FFC-9EE6-4482-8E4E-473BC48274DC}"/>
              </a:ext>
            </a:extLst>
          </p:cNvPr>
          <p:cNvPicPr>
            <a:picLocks noChangeAspect="1"/>
          </p:cNvPicPr>
          <p:nvPr userDrawn="1"/>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061000" y="-891000"/>
            <a:ext cx="2569140" cy="726952"/>
          </a:xfrm>
          <a:prstGeom prst="rect">
            <a:avLst/>
          </a:prstGeom>
        </p:spPr>
      </p:pic>
      <p:sp>
        <p:nvSpPr>
          <p:cNvPr id="21" name="Rectangle 20">
            <a:extLst>
              <a:ext uri="{FF2B5EF4-FFF2-40B4-BE49-F238E27FC236}">
                <a16:creationId xmlns:a16="http://schemas.microsoft.com/office/drawing/2014/main" id="{E141C557-EE0F-4931-9188-E65FFDC28ABB}"/>
              </a:ext>
            </a:extLst>
          </p:cNvPr>
          <p:cNvSpPr/>
          <p:nvPr userDrawn="1"/>
        </p:nvSpPr>
        <p:spPr>
          <a:xfrm>
            <a:off x="1056000" y="-711000"/>
            <a:ext cx="720000" cy="315000"/>
          </a:xfrm>
          <a:prstGeom prst="rect">
            <a:avLst/>
          </a:prstGeom>
          <a:solidFill>
            <a:srgbClr val="3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E91E93B-7A79-4D1C-845A-D2D5C8CA5748}"/>
              </a:ext>
            </a:extLst>
          </p:cNvPr>
          <p:cNvSpPr/>
          <p:nvPr userDrawn="1"/>
        </p:nvSpPr>
        <p:spPr>
          <a:xfrm>
            <a:off x="2496000" y="-711000"/>
            <a:ext cx="720000" cy="315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userDrawn="1"/>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userDrawn="1"/>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695746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jp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eg"/><Relationship Id="rId9" Type="http://schemas.openxmlformats.org/officeDocument/2006/relationships/image" Target="../media/image35.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49.jpg"/><Relationship Id="rId17" Type="http://schemas.openxmlformats.org/officeDocument/2006/relationships/image" Target="../media/image54.jpg"/><Relationship Id="rId2" Type="http://schemas.openxmlformats.org/officeDocument/2006/relationships/notesSlide" Target="../notesSlides/notesSlide19.xml"/><Relationship Id="rId16" Type="http://schemas.openxmlformats.org/officeDocument/2006/relationships/image" Target="../media/image53.jpeg"/><Relationship Id="rId1" Type="http://schemas.openxmlformats.org/officeDocument/2006/relationships/slideLayout" Target="../slideLayouts/slideLayout3.xml"/><Relationship Id="rId6" Type="http://schemas.openxmlformats.org/officeDocument/2006/relationships/image" Target="../media/image44.png"/><Relationship Id="rId11" Type="http://schemas.openxmlformats.org/officeDocument/2006/relationships/hyperlink" Target="https://www.microsoft.com/en-us/hololens/commercial-overview" TargetMode="External"/><Relationship Id="rId5" Type="http://schemas.openxmlformats.org/officeDocument/2006/relationships/image" Target="../media/image43.png"/><Relationship Id="rId15" Type="http://schemas.openxmlformats.org/officeDocument/2006/relationships/image" Target="../media/image52.jpe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1.jpe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hyperlink" Target="https://aka.ms/iwantmr" TargetMode="Externa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eg"/><Relationship Id="rId9" Type="http://schemas.openxmlformats.org/officeDocument/2006/relationships/image" Target="../media/image3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B051579-52C7-4D72-88DE-1436711C3E27}"/>
              </a:ext>
            </a:extLst>
          </p:cNvPr>
          <p:cNvSpPr>
            <a:spLocks noGrp="1"/>
          </p:cNvSpPr>
          <p:nvPr>
            <p:ph type="ctrTitle"/>
          </p:nvPr>
        </p:nvSpPr>
        <p:spPr/>
        <p:txBody>
          <a:bodyPr/>
          <a:lstStyle/>
          <a:p>
            <a:r>
              <a:rPr lang="en-GB"/>
              <a:t>Build Mixed Reality Apps</a:t>
            </a:r>
            <a:endParaRPr lang="en-US"/>
          </a:p>
        </p:txBody>
      </p:sp>
    </p:spTree>
    <p:extLst>
      <p:ext uri="{BB962C8B-B14F-4D97-AF65-F5344CB8AC3E}">
        <p14:creationId xmlns:p14="http://schemas.microsoft.com/office/powerpoint/2010/main" val="47250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AD103-10FA-4EBE-984F-D0AB781D461D}"/>
              </a:ext>
            </a:extLst>
          </p:cNvPr>
          <p:cNvSpPr>
            <a:spLocks noGrp="1"/>
          </p:cNvSpPr>
          <p:nvPr>
            <p:ph type="title"/>
          </p:nvPr>
        </p:nvSpPr>
        <p:spPr/>
        <p:txBody>
          <a:bodyPr/>
          <a:lstStyle/>
          <a:p>
            <a:r>
              <a:rPr lang="en-US"/>
              <a:t>Space Types</a:t>
            </a:r>
          </a:p>
        </p:txBody>
      </p:sp>
      <p:sp>
        <p:nvSpPr>
          <p:cNvPr id="6" name="TextBox 5">
            <a:extLst>
              <a:ext uri="{FF2B5EF4-FFF2-40B4-BE49-F238E27FC236}">
                <a16:creationId xmlns:a16="http://schemas.microsoft.com/office/drawing/2014/main" id="{3B33C352-C89D-4814-BB31-3EA862276A1B}"/>
              </a:ext>
            </a:extLst>
          </p:cNvPr>
          <p:cNvSpPr txBox="1"/>
          <p:nvPr/>
        </p:nvSpPr>
        <p:spPr>
          <a:xfrm>
            <a:off x="2209800" y="5029199"/>
            <a:ext cx="3429000" cy="646331"/>
          </a:xfrm>
          <a:prstGeom prst="rect">
            <a:avLst/>
          </a:prstGeom>
          <a:noFill/>
        </p:spPr>
        <p:txBody>
          <a:bodyPr wrap="square" rtlCol="0">
            <a:spAutoFit/>
          </a:bodyPr>
          <a:lstStyle/>
          <a:p>
            <a:r>
              <a:rPr lang="en-US" spc="-50">
                <a:solidFill>
                  <a:srgbClr val="2F2F2F"/>
                </a:solidFill>
              </a:rPr>
              <a:t>Origin is center of room</a:t>
            </a:r>
          </a:p>
          <a:p>
            <a:r>
              <a:rPr lang="en-US" spc="-50">
                <a:solidFill>
                  <a:srgbClr val="2F2F2F"/>
                </a:solidFill>
              </a:rPr>
              <a:t>Can’t </a:t>
            </a:r>
            <a:r>
              <a:rPr lang="en-US" spc="-50" err="1">
                <a:solidFill>
                  <a:srgbClr val="2F2F2F"/>
                </a:solidFill>
              </a:rPr>
              <a:t>Recenter</a:t>
            </a:r>
            <a:r>
              <a:rPr lang="en-US" spc="-50">
                <a:solidFill>
                  <a:srgbClr val="2F2F2F"/>
                </a:solidFill>
              </a:rPr>
              <a:t>() </a:t>
            </a:r>
          </a:p>
        </p:txBody>
      </p:sp>
      <p:sp>
        <p:nvSpPr>
          <p:cNvPr id="7" name="TextBox 6">
            <a:extLst>
              <a:ext uri="{FF2B5EF4-FFF2-40B4-BE49-F238E27FC236}">
                <a16:creationId xmlns:a16="http://schemas.microsoft.com/office/drawing/2014/main" id="{A6A9B2AC-16E9-4504-BC81-E834180328AD}"/>
              </a:ext>
            </a:extLst>
          </p:cNvPr>
          <p:cNvSpPr txBox="1"/>
          <p:nvPr/>
        </p:nvSpPr>
        <p:spPr>
          <a:xfrm>
            <a:off x="6477000" y="5029200"/>
            <a:ext cx="3432280" cy="646331"/>
          </a:xfrm>
          <a:prstGeom prst="rect">
            <a:avLst/>
          </a:prstGeom>
          <a:noFill/>
        </p:spPr>
        <p:txBody>
          <a:bodyPr wrap="square" rtlCol="0">
            <a:spAutoFit/>
          </a:bodyPr>
          <a:lstStyle/>
          <a:p>
            <a:r>
              <a:rPr lang="en-US" spc="-50">
                <a:solidFill>
                  <a:srgbClr val="2F2F2F"/>
                </a:solidFill>
              </a:rPr>
              <a:t>Origin is headset upon start</a:t>
            </a:r>
          </a:p>
          <a:p>
            <a:r>
              <a:rPr lang="en-US" spc="-50">
                <a:solidFill>
                  <a:srgbClr val="2F2F2F"/>
                </a:solidFill>
              </a:rPr>
              <a:t>Can </a:t>
            </a:r>
            <a:r>
              <a:rPr lang="en-US" spc="-50" err="1">
                <a:solidFill>
                  <a:srgbClr val="2F2F2F"/>
                </a:solidFill>
              </a:rPr>
              <a:t>Recenter</a:t>
            </a:r>
            <a:r>
              <a:rPr lang="en-US" spc="-50">
                <a:solidFill>
                  <a:srgbClr val="2F2F2F"/>
                </a:solidFill>
              </a:rPr>
              <a:t>()  </a:t>
            </a:r>
          </a:p>
        </p:txBody>
      </p:sp>
      <p:sp>
        <p:nvSpPr>
          <p:cNvPr id="12" name="TextBox 11">
            <a:extLst>
              <a:ext uri="{FF2B5EF4-FFF2-40B4-BE49-F238E27FC236}">
                <a16:creationId xmlns:a16="http://schemas.microsoft.com/office/drawing/2014/main" id="{8E790C55-FD7D-454C-82EE-54007BDFBC21}"/>
              </a:ext>
            </a:extLst>
          </p:cNvPr>
          <p:cNvSpPr txBox="1"/>
          <p:nvPr/>
        </p:nvSpPr>
        <p:spPr>
          <a:xfrm>
            <a:off x="2209800" y="1600199"/>
            <a:ext cx="2035237" cy="523220"/>
          </a:xfrm>
          <a:prstGeom prst="rect">
            <a:avLst/>
          </a:prstGeom>
          <a:noFill/>
        </p:spPr>
        <p:txBody>
          <a:bodyPr wrap="none" rtlCol="0">
            <a:spAutoFit/>
          </a:bodyPr>
          <a:lstStyle/>
          <a:p>
            <a:r>
              <a:rPr lang="en-US" sz="2800" b="1" spc="-50" err="1">
                <a:solidFill>
                  <a:srgbClr val="235689"/>
                </a:solidFill>
              </a:rPr>
              <a:t>Roomscale</a:t>
            </a:r>
            <a:r>
              <a:rPr lang="en-US" sz="2800" b="1" spc="-50">
                <a:solidFill>
                  <a:srgbClr val="235689"/>
                </a:solidFill>
              </a:rPr>
              <a:t> </a:t>
            </a:r>
          </a:p>
        </p:txBody>
      </p:sp>
      <p:sp>
        <p:nvSpPr>
          <p:cNvPr id="15" name="TextBox 14">
            <a:extLst>
              <a:ext uri="{FF2B5EF4-FFF2-40B4-BE49-F238E27FC236}">
                <a16:creationId xmlns:a16="http://schemas.microsoft.com/office/drawing/2014/main" id="{0A3DB770-5A8F-4A93-A235-0ECE8AD56492}"/>
              </a:ext>
            </a:extLst>
          </p:cNvPr>
          <p:cNvSpPr txBox="1"/>
          <p:nvPr/>
        </p:nvSpPr>
        <p:spPr>
          <a:xfrm>
            <a:off x="6477000" y="1600200"/>
            <a:ext cx="1871666" cy="523220"/>
          </a:xfrm>
          <a:prstGeom prst="rect">
            <a:avLst/>
          </a:prstGeom>
          <a:noFill/>
        </p:spPr>
        <p:txBody>
          <a:bodyPr wrap="none" rtlCol="0">
            <a:spAutoFit/>
          </a:bodyPr>
          <a:lstStyle/>
          <a:p>
            <a:r>
              <a:rPr lang="en-US" sz="2800" b="1" spc="-50">
                <a:solidFill>
                  <a:srgbClr val="235689"/>
                </a:solidFill>
              </a:rPr>
              <a:t>Stationary</a:t>
            </a:r>
          </a:p>
        </p:txBody>
      </p:sp>
      <p:pic>
        <p:nvPicPr>
          <p:cNvPr id="10" name="Picture 9">
            <a:extLst>
              <a:ext uri="{FF2B5EF4-FFF2-40B4-BE49-F238E27FC236}">
                <a16:creationId xmlns:a16="http://schemas.microsoft.com/office/drawing/2014/main" id="{A7B7A347-FC77-4CC5-A9E2-E69F38C85249}"/>
              </a:ext>
            </a:extLst>
          </p:cNvPr>
          <p:cNvPicPr>
            <a:picLocks noChangeAspect="1"/>
          </p:cNvPicPr>
          <p:nvPr/>
        </p:nvPicPr>
        <p:blipFill rotWithShape="1">
          <a:blip r:embed="rId3">
            <a:extLst>
              <a:ext uri="{28A0092B-C50C-407E-A947-70E740481C1C}">
                <a14:useLocalDpi xmlns:a14="http://schemas.microsoft.com/office/drawing/2010/main" val="0"/>
              </a:ext>
            </a:extLst>
          </a:blip>
          <a:srcRect l="9541" t="4121" r="8977" b="710"/>
          <a:stretch/>
        </p:blipFill>
        <p:spPr>
          <a:xfrm>
            <a:off x="2286000" y="2209800"/>
            <a:ext cx="3352800" cy="2743199"/>
          </a:xfrm>
          <a:prstGeom prst="rect">
            <a:avLst/>
          </a:prstGeom>
        </p:spPr>
      </p:pic>
      <p:pic>
        <p:nvPicPr>
          <p:cNvPr id="13" name="Picture 12">
            <a:extLst>
              <a:ext uri="{FF2B5EF4-FFF2-40B4-BE49-F238E27FC236}">
                <a16:creationId xmlns:a16="http://schemas.microsoft.com/office/drawing/2014/main" id="{ED873CB6-83C2-4C07-BE11-AAF18ACBBA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3200" y="2209800"/>
            <a:ext cx="3352800" cy="2749866"/>
          </a:xfrm>
          <a:prstGeom prst="rect">
            <a:avLst/>
          </a:prstGeom>
        </p:spPr>
      </p:pic>
    </p:spTree>
    <p:extLst>
      <p:ext uri="{BB962C8B-B14F-4D97-AF65-F5344CB8AC3E}">
        <p14:creationId xmlns:p14="http://schemas.microsoft.com/office/powerpoint/2010/main" val="12440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b="1">
                <a:latin typeface="Segoe UI" panose="020B0502040204020203" pitchFamily="34" charset="0"/>
              </a:rPr>
              <a:t>Demo!</a:t>
            </a:r>
            <a:endParaRPr lang="en-US" b="1">
              <a:latin typeface="Segoe UI" panose="020B0502040204020203" pitchFamily="34" charset="0"/>
            </a:endParaRPr>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a:t>Creating Mixed Reality app w/Unity </a:t>
            </a:r>
            <a:endParaRPr lang="en-US"/>
          </a:p>
        </p:txBody>
      </p:sp>
    </p:spTree>
    <p:extLst>
      <p:ext uri="{BB962C8B-B14F-4D97-AF65-F5344CB8AC3E}">
        <p14:creationId xmlns:p14="http://schemas.microsoft.com/office/powerpoint/2010/main" val="42264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aze</a:t>
            </a:r>
          </a:p>
        </p:txBody>
      </p:sp>
      <p:sp>
        <p:nvSpPr>
          <p:cNvPr id="7" name="Content Placeholder 6">
            <a:extLst>
              <a:ext uri="{FF2B5EF4-FFF2-40B4-BE49-F238E27FC236}">
                <a16:creationId xmlns:a16="http://schemas.microsoft.com/office/drawing/2014/main" id="{49E724DB-D274-4EB8-B703-1D9B360631E8}"/>
              </a:ext>
            </a:extLst>
          </p:cNvPr>
          <p:cNvSpPr>
            <a:spLocks noGrp="1"/>
          </p:cNvSpPr>
          <p:nvPr>
            <p:ph idx="1"/>
          </p:nvPr>
        </p:nvSpPr>
        <p:spPr>
          <a:xfrm>
            <a:off x="336000" y="1584000"/>
            <a:ext cx="5074200" cy="4994999"/>
          </a:xfrm>
        </p:spPr>
        <p:txBody>
          <a:bodyPr>
            <a:normAutofit/>
          </a:bodyPr>
          <a:lstStyle/>
          <a:p>
            <a:r>
              <a:rPr lang="en-US" sz="2400">
                <a:solidFill>
                  <a:srgbClr val="505050">
                    <a:alpha val="99000"/>
                  </a:srgbClr>
                </a:solidFill>
              </a:rPr>
              <a:t>Gaze tells you where the user is looking in the world and lets you determine their intent</a:t>
            </a:r>
          </a:p>
          <a:p>
            <a:endParaRPr lang="en-US" sz="2400"/>
          </a:p>
        </p:txBody>
      </p:sp>
      <p:sp>
        <p:nvSpPr>
          <p:cNvPr id="3" name="Rectangle 2"/>
          <p:cNvSpPr/>
          <p:nvPr/>
        </p:nvSpPr>
        <p:spPr bwMode="auto">
          <a:xfrm>
            <a:off x="6609369" y="1380"/>
            <a:ext cx="5581045" cy="6856620"/>
          </a:xfrm>
          <a:prstGeom prst="rect">
            <a:avLst/>
          </a:prstGeom>
          <a:solidFill>
            <a:srgbClr val="2F2F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2013" y="1625891"/>
            <a:ext cx="3675754" cy="3133144"/>
          </a:xfrm>
          <a:prstGeom prst="rect">
            <a:avLst/>
          </a:prstGeom>
        </p:spPr>
      </p:pic>
      <p:sp>
        <p:nvSpPr>
          <p:cNvPr id="5" name="Rectangle 4"/>
          <p:cNvSpPr/>
          <p:nvPr/>
        </p:nvSpPr>
        <p:spPr>
          <a:xfrm>
            <a:off x="431293" y="1625891"/>
            <a:ext cx="5359907" cy="3133144"/>
          </a:xfrm>
          <a:prstGeom prst="rect">
            <a:avLst/>
          </a:prstGeom>
          <a:noFill/>
        </p:spPr>
        <p:txBody>
          <a:bodyPr vert="horz" wrap="square" lIns="0" tIns="45720" rIns="0" bIns="45720" rtlCol="0" anchor="ctr">
            <a:noAutofit/>
          </a:bodyPr>
          <a:lstStyle/>
          <a:p>
            <a:pPr>
              <a:lnSpc>
                <a:spcPct val="150000"/>
              </a:lnSpc>
              <a:spcAft>
                <a:spcPts val="600"/>
              </a:spcAft>
              <a:buSzPct val="90000"/>
            </a:pPr>
            <a:endParaRPr lang="en-US" sz="2800">
              <a:solidFill>
                <a:srgbClr val="505050">
                  <a:alpha val="99000"/>
                </a:srgbClr>
              </a:solidFill>
            </a:endParaRPr>
          </a:p>
        </p:txBody>
      </p:sp>
      <p:pic>
        <p:nvPicPr>
          <p:cNvPr id="6" name="Picture 5">
            <a:extLst>
              <a:ext uri="{FF2B5EF4-FFF2-40B4-BE49-F238E27FC236}">
                <a16:creationId xmlns:a16="http://schemas.microsoft.com/office/drawing/2014/main" id="{786FB108-5F6C-471A-BFB9-2DE86284C3F6}"/>
              </a:ext>
            </a:extLst>
          </p:cNvPr>
          <p:cNvPicPr>
            <a:picLocks noChangeAspect="1"/>
          </p:cNvPicPr>
          <p:nvPr/>
        </p:nvPicPr>
        <p:blipFill>
          <a:blip r:embed="rId4">
            <a:extLst/>
          </a:blip>
          <a:stretch>
            <a:fillRect/>
          </a:stretch>
        </p:blipFill>
        <p:spPr>
          <a:xfrm>
            <a:off x="5943600" y="-117449"/>
            <a:ext cx="6248400" cy="6975449"/>
          </a:xfrm>
          <a:prstGeom prst="rect">
            <a:avLst/>
          </a:prstGeom>
        </p:spPr>
      </p:pic>
    </p:spTree>
    <p:extLst>
      <p:ext uri="{BB962C8B-B14F-4D97-AF65-F5344CB8AC3E}">
        <p14:creationId xmlns:p14="http://schemas.microsoft.com/office/powerpoint/2010/main" val="163562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b="1">
                <a:latin typeface="Segoe UI" panose="020B0502040204020203" pitchFamily="34" charset="0"/>
              </a:rPr>
              <a:t>Demo!</a:t>
            </a:r>
            <a:endParaRPr lang="en-US" b="1">
              <a:latin typeface="Segoe UI" panose="020B0502040204020203" pitchFamily="34" charset="0"/>
            </a:endParaRPr>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a:t>Gaze </a:t>
            </a:r>
            <a:endParaRPr lang="en-US"/>
          </a:p>
        </p:txBody>
      </p:sp>
    </p:spTree>
    <p:extLst>
      <p:ext uri="{BB962C8B-B14F-4D97-AF65-F5344CB8AC3E}">
        <p14:creationId xmlns:p14="http://schemas.microsoft.com/office/powerpoint/2010/main" val="140279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tion controllers</a:t>
            </a:r>
          </a:p>
        </p:txBody>
      </p:sp>
      <p:sp>
        <p:nvSpPr>
          <p:cNvPr id="12" name="Content Placeholder 11">
            <a:extLst>
              <a:ext uri="{FF2B5EF4-FFF2-40B4-BE49-F238E27FC236}">
                <a16:creationId xmlns:a16="http://schemas.microsoft.com/office/drawing/2014/main" id="{770F9CE7-18EA-4EEA-93B8-2C1C58A84EF7}"/>
              </a:ext>
            </a:extLst>
          </p:cNvPr>
          <p:cNvSpPr>
            <a:spLocks noGrp="1"/>
          </p:cNvSpPr>
          <p:nvPr>
            <p:ph sz="half" idx="1"/>
          </p:nvPr>
        </p:nvSpPr>
        <p:spPr/>
        <p:txBody>
          <a:bodyPr vert="horz" lIns="91440" tIns="45720" rIns="91440" bIns="45720" rtlCol="0">
            <a:normAutofit/>
          </a:bodyPr>
          <a:lstStyle/>
          <a:p>
            <a:r>
              <a:rPr lang="en-US" sz="2400">
                <a:solidFill>
                  <a:srgbClr val="505050">
                    <a:alpha val="99000"/>
                  </a:srgbClr>
                </a:solidFill>
              </a:rPr>
              <a:t>Track the position of the user’s hands in space</a:t>
            </a:r>
          </a:p>
          <a:p>
            <a:br>
              <a:rPr lang="en-US" sz="2400">
                <a:solidFill>
                  <a:srgbClr val="505050">
                    <a:alpha val="99000"/>
                  </a:srgbClr>
                </a:solidFill>
              </a:rPr>
            </a:br>
            <a:r>
              <a:rPr lang="en-US" sz="2400">
                <a:solidFill>
                  <a:srgbClr val="505050">
                    <a:alpha val="99000"/>
                  </a:srgbClr>
                </a:solidFill>
              </a:rPr>
              <a:t>Enable fine grained interactions with digital objects </a:t>
            </a:r>
          </a:p>
        </p:txBody>
      </p:sp>
      <p:sp>
        <p:nvSpPr>
          <p:cNvPr id="5" name="Rectangle 4"/>
          <p:cNvSpPr/>
          <p:nvPr/>
        </p:nvSpPr>
        <p:spPr>
          <a:xfrm>
            <a:off x="431293" y="1625891"/>
            <a:ext cx="6092825" cy="3133144"/>
          </a:xfrm>
          <a:prstGeom prst="rect">
            <a:avLst/>
          </a:prstGeom>
          <a:noFill/>
        </p:spPr>
        <p:txBody>
          <a:bodyPr vert="horz" wrap="square" lIns="0" tIns="45720" rIns="0" bIns="45720" rtlCol="0" anchor="ctr">
            <a:noAutofit/>
          </a:bodyPr>
          <a:lstStyle/>
          <a:p>
            <a:pPr>
              <a:lnSpc>
                <a:spcPct val="150000"/>
              </a:lnSpc>
              <a:spcAft>
                <a:spcPts val="600"/>
              </a:spcAft>
              <a:buSzPct val="90000"/>
            </a:pPr>
            <a:endParaRPr lang="en-US" sz="2800">
              <a:solidFill>
                <a:srgbClr val="505050">
                  <a:alpha val="99000"/>
                </a:srgbClr>
              </a:solidFill>
            </a:endParaRPr>
          </a:p>
        </p:txBody>
      </p:sp>
      <p:pic>
        <p:nvPicPr>
          <p:cNvPr id="9" name="Picture 8">
            <a:extLst>
              <a:ext uri="{FF2B5EF4-FFF2-40B4-BE49-F238E27FC236}">
                <a16:creationId xmlns:a16="http://schemas.microsoft.com/office/drawing/2014/main" id="{0FB88237-982E-417E-87C0-C1EE4CBAFABD}"/>
              </a:ext>
            </a:extLst>
          </p:cNvPr>
          <p:cNvPicPr>
            <a:picLocks noChangeAspect="1"/>
          </p:cNvPicPr>
          <p:nvPr/>
        </p:nvPicPr>
        <p:blipFill>
          <a:blip r:embed="rId3">
            <a:extLst/>
          </a:blip>
          <a:stretch>
            <a:fillRect/>
          </a:stretch>
        </p:blipFill>
        <p:spPr>
          <a:xfrm>
            <a:off x="6096000" y="-429800"/>
            <a:ext cx="6096000" cy="7426690"/>
          </a:xfrm>
          <a:prstGeom prst="rect">
            <a:avLst/>
          </a:prstGeom>
        </p:spPr>
      </p:pic>
    </p:spTree>
    <p:extLst>
      <p:ext uri="{BB962C8B-B14F-4D97-AF65-F5344CB8AC3E}">
        <p14:creationId xmlns:p14="http://schemas.microsoft.com/office/powerpoint/2010/main" val="234539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701E8A-1733-4F81-90B9-47F211822AB5}"/>
              </a:ext>
            </a:extLst>
          </p:cNvPr>
          <p:cNvSpPr>
            <a:spLocks noGrp="1"/>
          </p:cNvSpPr>
          <p:nvPr>
            <p:ph type="title"/>
          </p:nvPr>
        </p:nvSpPr>
        <p:spPr/>
        <p:txBody>
          <a:bodyPr/>
          <a:lstStyle/>
          <a:p>
            <a:r>
              <a:rPr lang="en-US"/>
              <a:t>UnityEngine.XR.WSA.Input APIs</a:t>
            </a:r>
          </a:p>
        </p:txBody>
      </p:sp>
      <p:sp>
        <p:nvSpPr>
          <p:cNvPr id="12" name="Text Placeholder 11">
            <a:extLst>
              <a:ext uri="{FF2B5EF4-FFF2-40B4-BE49-F238E27FC236}">
                <a16:creationId xmlns:a16="http://schemas.microsoft.com/office/drawing/2014/main" id="{3CC72131-7B90-4387-9399-AF38809DAC95}"/>
              </a:ext>
            </a:extLst>
          </p:cNvPr>
          <p:cNvSpPr>
            <a:spLocks noGrp="1"/>
          </p:cNvSpPr>
          <p:nvPr>
            <p:ph type="body" idx="1"/>
          </p:nvPr>
        </p:nvSpPr>
        <p:spPr/>
        <p:txBody>
          <a:bodyPr/>
          <a:lstStyle/>
          <a:p>
            <a:r>
              <a:rPr lang="en-US" err="1"/>
              <a:t>InteractionManager</a:t>
            </a:r>
            <a:endParaRPr lang="en-US"/>
          </a:p>
        </p:txBody>
      </p:sp>
      <p:sp>
        <p:nvSpPr>
          <p:cNvPr id="6" name="Content Placeholder 5">
            <a:extLst>
              <a:ext uri="{FF2B5EF4-FFF2-40B4-BE49-F238E27FC236}">
                <a16:creationId xmlns:a16="http://schemas.microsoft.com/office/drawing/2014/main" id="{2F64D4AD-A3B3-49F9-A626-9475B9EB9C27}"/>
              </a:ext>
            </a:extLst>
          </p:cNvPr>
          <p:cNvSpPr>
            <a:spLocks noGrp="1"/>
          </p:cNvSpPr>
          <p:nvPr>
            <p:ph sz="quarter" idx="2"/>
          </p:nvPr>
        </p:nvSpPr>
        <p:spPr/>
        <p:txBody>
          <a:bodyPr/>
          <a:lstStyle/>
          <a:p>
            <a:pPr lvl="1"/>
            <a:r>
              <a:rPr lang="en-US" err="1"/>
              <a:t>GetCurrentReading</a:t>
            </a:r>
            <a:r>
              <a:rPr lang="en-US"/>
              <a:t>()  </a:t>
            </a:r>
          </a:p>
          <a:p>
            <a:pPr lvl="1"/>
            <a:br>
              <a:rPr lang="en-US"/>
            </a:br>
            <a:r>
              <a:rPr lang="en-US"/>
              <a:t>+</a:t>
            </a:r>
            <a:r>
              <a:rPr lang="en-US" err="1"/>
              <a:t>InteractionSourceDetected</a:t>
            </a:r>
            <a:endParaRPr lang="en-US"/>
          </a:p>
          <a:p>
            <a:pPr lvl="1"/>
            <a:r>
              <a:rPr lang="en-US"/>
              <a:t>+</a:t>
            </a:r>
            <a:r>
              <a:rPr lang="en-US" err="1"/>
              <a:t>interactionSourceUpdated</a:t>
            </a:r>
            <a:r>
              <a:rPr lang="en-US"/>
              <a:t> </a:t>
            </a:r>
          </a:p>
          <a:p>
            <a:pPr lvl="1"/>
            <a:r>
              <a:rPr lang="en-US"/>
              <a:t>+</a:t>
            </a:r>
            <a:r>
              <a:rPr lang="en-US" err="1"/>
              <a:t>interactionSourceReleased</a:t>
            </a:r>
            <a:endParaRPr lang="en-US"/>
          </a:p>
          <a:p>
            <a:pPr lvl="1"/>
            <a:r>
              <a:rPr lang="en-US"/>
              <a:t>+</a:t>
            </a:r>
            <a:r>
              <a:rPr lang="en-US" err="1"/>
              <a:t>interactionSourcePressed</a:t>
            </a:r>
            <a:r>
              <a:rPr lang="en-US"/>
              <a:t> </a:t>
            </a:r>
          </a:p>
          <a:p>
            <a:pPr lvl="1"/>
            <a:endParaRPr lang="en-US"/>
          </a:p>
          <a:p>
            <a:r>
              <a:rPr lang="en-US"/>
              <a:t> </a:t>
            </a:r>
          </a:p>
        </p:txBody>
      </p:sp>
      <p:sp>
        <p:nvSpPr>
          <p:cNvPr id="13" name="Text Placeholder 12">
            <a:extLst>
              <a:ext uri="{FF2B5EF4-FFF2-40B4-BE49-F238E27FC236}">
                <a16:creationId xmlns:a16="http://schemas.microsoft.com/office/drawing/2014/main" id="{B4745AF6-E5C6-4DA9-A2E3-A0537868B555}"/>
              </a:ext>
            </a:extLst>
          </p:cNvPr>
          <p:cNvSpPr>
            <a:spLocks noGrp="1"/>
          </p:cNvSpPr>
          <p:nvPr>
            <p:ph type="body" sz="quarter" idx="3"/>
          </p:nvPr>
        </p:nvSpPr>
        <p:spPr/>
        <p:txBody>
          <a:bodyPr/>
          <a:lstStyle/>
          <a:p>
            <a:r>
              <a:rPr lang="en-US" err="1"/>
              <a:t>InteractionSourceState</a:t>
            </a:r>
            <a:endParaRPr lang="en-US"/>
          </a:p>
        </p:txBody>
      </p:sp>
      <p:sp>
        <p:nvSpPr>
          <p:cNvPr id="14" name="Content Placeholder 13">
            <a:extLst>
              <a:ext uri="{FF2B5EF4-FFF2-40B4-BE49-F238E27FC236}">
                <a16:creationId xmlns:a16="http://schemas.microsoft.com/office/drawing/2014/main" id="{258D9F21-CD0B-4151-9E82-140056D1D530}"/>
              </a:ext>
            </a:extLst>
          </p:cNvPr>
          <p:cNvSpPr>
            <a:spLocks noGrp="1"/>
          </p:cNvSpPr>
          <p:nvPr>
            <p:ph sz="quarter" idx="4"/>
          </p:nvPr>
        </p:nvSpPr>
        <p:spPr/>
        <p:txBody>
          <a:bodyPr/>
          <a:lstStyle/>
          <a:p>
            <a:pPr lvl="1"/>
            <a:r>
              <a:rPr lang="en-US" err="1"/>
              <a:t>headPose</a:t>
            </a:r>
            <a:endParaRPr lang="en-US"/>
          </a:p>
          <a:p>
            <a:pPr lvl="1"/>
            <a:r>
              <a:rPr lang="en-US"/>
              <a:t>source </a:t>
            </a:r>
          </a:p>
          <a:p>
            <a:pPr lvl="1"/>
            <a:r>
              <a:rPr lang="en-US" err="1"/>
              <a:t>selectPressed</a:t>
            </a:r>
            <a:r>
              <a:rPr lang="en-US"/>
              <a:t>  &amp; </a:t>
            </a:r>
            <a:r>
              <a:rPr lang="en-US" err="1"/>
              <a:t>selectPressedAmount</a:t>
            </a:r>
            <a:r>
              <a:rPr lang="en-US"/>
              <a:t> </a:t>
            </a:r>
          </a:p>
          <a:p>
            <a:pPr lvl="1"/>
            <a:r>
              <a:rPr lang="en-US" err="1"/>
              <a:t>menuPressed</a:t>
            </a:r>
            <a:endParaRPr lang="en-US"/>
          </a:p>
          <a:p>
            <a:pPr lvl="1"/>
            <a:r>
              <a:rPr lang="en-US" err="1"/>
              <a:t>touchPadPressed</a:t>
            </a:r>
            <a:r>
              <a:rPr lang="en-US"/>
              <a:t> </a:t>
            </a:r>
          </a:p>
          <a:p>
            <a:pPr lvl="1"/>
            <a:r>
              <a:rPr lang="en-US" err="1"/>
              <a:t>touchPadPosition</a:t>
            </a:r>
            <a:r>
              <a:rPr lang="en-US"/>
              <a:t> </a:t>
            </a:r>
          </a:p>
          <a:p>
            <a:pPr lvl="1"/>
            <a:r>
              <a:rPr lang="en-US" err="1"/>
              <a:t>thumbstickPressed</a:t>
            </a:r>
            <a:r>
              <a:rPr lang="en-US"/>
              <a:t> </a:t>
            </a:r>
          </a:p>
          <a:p>
            <a:pPr lvl="1"/>
            <a:r>
              <a:rPr lang="en-US" err="1"/>
              <a:t>headRay</a:t>
            </a:r>
            <a:r>
              <a:rPr lang="en-US"/>
              <a:t> </a:t>
            </a:r>
          </a:p>
          <a:p>
            <a:pPr lvl="1"/>
            <a:r>
              <a:rPr lang="en-US"/>
              <a:t>…. </a:t>
            </a:r>
          </a:p>
          <a:p>
            <a:pPr lvl="1"/>
            <a:r>
              <a:rPr lang="en-US" err="1"/>
              <a:t>sourcePose</a:t>
            </a:r>
            <a:endParaRPr lang="en-US"/>
          </a:p>
        </p:txBody>
      </p:sp>
      <p:pic>
        <p:nvPicPr>
          <p:cNvPr id="4" name="Picture 3">
            <a:extLst>
              <a:ext uri="{FF2B5EF4-FFF2-40B4-BE49-F238E27FC236}">
                <a16:creationId xmlns:a16="http://schemas.microsoft.com/office/drawing/2014/main" id="{E91DAF9A-3BC5-452E-B7EA-4EF0BC3CE2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3399" y="4038600"/>
            <a:ext cx="3525404" cy="2720360"/>
          </a:xfrm>
          <a:prstGeom prst="rect">
            <a:avLst/>
          </a:prstGeom>
        </p:spPr>
      </p:pic>
    </p:spTree>
    <p:extLst>
      <p:ext uri="{BB962C8B-B14F-4D97-AF65-F5344CB8AC3E}">
        <p14:creationId xmlns:p14="http://schemas.microsoft.com/office/powerpoint/2010/main" val="229700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a:t>Demo!</a:t>
            </a:r>
            <a:endParaRPr lang="en-US"/>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a:t>Motion Controllers </a:t>
            </a:r>
            <a:endParaRPr lang="en-US"/>
          </a:p>
        </p:txBody>
      </p:sp>
    </p:spTree>
    <p:extLst>
      <p:ext uri="{BB962C8B-B14F-4D97-AF65-F5344CB8AC3E}">
        <p14:creationId xmlns:p14="http://schemas.microsoft.com/office/powerpoint/2010/main" val="204469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ing blocks</a:t>
            </a:r>
          </a:p>
        </p:txBody>
      </p:sp>
      <p:grpSp>
        <p:nvGrpSpPr>
          <p:cNvPr id="36" name="Group 35">
            <a:extLst>
              <a:ext uri="{FF2B5EF4-FFF2-40B4-BE49-F238E27FC236}">
                <a16:creationId xmlns:a16="http://schemas.microsoft.com/office/drawing/2014/main" id="{79DF81F5-F3EB-4E8F-8AD6-CC246E57AED3}"/>
              </a:ext>
            </a:extLst>
          </p:cNvPr>
          <p:cNvGrpSpPr/>
          <p:nvPr/>
        </p:nvGrpSpPr>
        <p:grpSpPr>
          <a:xfrm>
            <a:off x="3366600" y="3962398"/>
            <a:ext cx="8305800" cy="1828801"/>
            <a:chOff x="1905000" y="3733800"/>
            <a:chExt cx="8305800" cy="1828801"/>
          </a:xfrm>
        </p:grpSpPr>
        <p:grpSp>
          <p:nvGrpSpPr>
            <p:cNvPr id="33" name="Group 32">
              <a:extLst>
                <a:ext uri="{FF2B5EF4-FFF2-40B4-BE49-F238E27FC236}">
                  <a16:creationId xmlns:a16="http://schemas.microsoft.com/office/drawing/2014/main" id="{054F8D81-D1BD-496A-9C2F-06423A636C88}"/>
                </a:ext>
              </a:extLst>
            </p:cNvPr>
            <p:cNvGrpSpPr/>
            <p:nvPr/>
          </p:nvGrpSpPr>
          <p:grpSpPr>
            <a:xfrm>
              <a:off x="7696200" y="3733800"/>
              <a:ext cx="2514600" cy="1828800"/>
              <a:chOff x="7315200" y="4343400"/>
              <a:chExt cx="2514600" cy="1828800"/>
            </a:xfrm>
          </p:grpSpPr>
          <p:sp>
            <p:nvSpPr>
              <p:cNvPr id="6" name="Rectangle 5"/>
              <p:cNvSpPr/>
              <p:nvPr/>
            </p:nvSpPr>
            <p:spPr bwMode="auto">
              <a:xfrm>
                <a:off x="7315200" y="43434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Spatial sound</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b="3234"/>
              <a:stretch/>
            </p:blipFill>
            <p:spPr>
              <a:xfrm>
                <a:off x="7315200" y="4800599"/>
                <a:ext cx="2514600" cy="1371601"/>
              </a:xfrm>
              <a:prstGeom prst="rect">
                <a:avLst/>
              </a:prstGeom>
            </p:spPr>
          </p:pic>
        </p:grpSp>
        <p:grpSp>
          <p:nvGrpSpPr>
            <p:cNvPr id="34" name="Group 33">
              <a:extLst>
                <a:ext uri="{FF2B5EF4-FFF2-40B4-BE49-F238E27FC236}">
                  <a16:creationId xmlns:a16="http://schemas.microsoft.com/office/drawing/2014/main" id="{995DAFCE-A45E-44AD-A8C0-2B6CE77229C8}"/>
                </a:ext>
              </a:extLst>
            </p:cNvPr>
            <p:cNvGrpSpPr/>
            <p:nvPr/>
          </p:nvGrpSpPr>
          <p:grpSpPr>
            <a:xfrm>
              <a:off x="1905000" y="3733800"/>
              <a:ext cx="2514600" cy="1828801"/>
              <a:chOff x="1752600" y="4343400"/>
              <a:chExt cx="2514600" cy="1828801"/>
            </a:xfrm>
          </p:grpSpPr>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r="21353" b="8484"/>
              <a:stretch/>
            </p:blipFill>
            <p:spPr>
              <a:xfrm>
                <a:off x="1752600" y="4800601"/>
                <a:ext cx="2514600" cy="1371600"/>
              </a:xfrm>
              <a:prstGeom prst="rect">
                <a:avLst/>
              </a:prstGeom>
            </p:spPr>
          </p:pic>
          <p:sp>
            <p:nvSpPr>
              <p:cNvPr id="14" name="Rectangle 13"/>
              <p:cNvSpPr/>
              <p:nvPr/>
            </p:nvSpPr>
            <p:spPr bwMode="auto">
              <a:xfrm>
                <a:off x="1752600" y="43434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Spatial mapping</a:t>
                </a:r>
              </a:p>
            </p:txBody>
          </p:sp>
        </p:grpSp>
      </p:grpSp>
      <p:grpSp>
        <p:nvGrpSpPr>
          <p:cNvPr id="28" name="Group 27">
            <a:extLst>
              <a:ext uri="{FF2B5EF4-FFF2-40B4-BE49-F238E27FC236}">
                <a16:creationId xmlns:a16="http://schemas.microsoft.com/office/drawing/2014/main" id="{08C55AAD-13A9-409D-AEBC-C23B4DC3D068}"/>
              </a:ext>
            </a:extLst>
          </p:cNvPr>
          <p:cNvGrpSpPr/>
          <p:nvPr/>
        </p:nvGrpSpPr>
        <p:grpSpPr>
          <a:xfrm>
            <a:off x="3366600" y="1722684"/>
            <a:ext cx="2514600" cy="1828800"/>
            <a:chOff x="3581400" y="1400420"/>
            <a:chExt cx="2514600" cy="1828800"/>
          </a:xfrm>
        </p:grpSpPr>
        <p:sp>
          <p:nvSpPr>
            <p:cNvPr id="25" name="Rectangle 24">
              <a:extLst>
                <a:ext uri="{FF2B5EF4-FFF2-40B4-BE49-F238E27FC236}">
                  <a16:creationId xmlns:a16="http://schemas.microsoft.com/office/drawing/2014/main" id="{157AF77C-4F83-40E3-BD6E-74B9BF03AE0C}"/>
                </a:ext>
              </a:extLst>
            </p:cNvPr>
            <p:cNvSpPr/>
            <p:nvPr/>
          </p:nvSpPr>
          <p:spPr>
            <a:xfrm>
              <a:off x="3581400" y="1857620"/>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bwMode="auto">
            <a:xfrm>
              <a:off x="3581400" y="140042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Gaze</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34131" y="1857620"/>
              <a:ext cx="1609139" cy="1371600"/>
            </a:xfrm>
            <a:prstGeom prst="rect">
              <a:avLst/>
            </a:prstGeom>
          </p:spPr>
        </p:pic>
      </p:grpSp>
      <p:grpSp>
        <p:nvGrpSpPr>
          <p:cNvPr id="29" name="Group 28">
            <a:extLst>
              <a:ext uri="{FF2B5EF4-FFF2-40B4-BE49-F238E27FC236}">
                <a16:creationId xmlns:a16="http://schemas.microsoft.com/office/drawing/2014/main" id="{7736570B-3CFA-4E73-B2FC-2E83593CB0E0}"/>
              </a:ext>
            </a:extLst>
          </p:cNvPr>
          <p:cNvGrpSpPr/>
          <p:nvPr/>
        </p:nvGrpSpPr>
        <p:grpSpPr>
          <a:xfrm>
            <a:off x="471000" y="3962397"/>
            <a:ext cx="2514600" cy="1828801"/>
            <a:chOff x="533400" y="3610216"/>
            <a:chExt cx="2514600" cy="1828801"/>
          </a:xfrm>
        </p:grpSpPr>
        <p:sp>
          <p:nvSpPr>
            <p:cNvPr id="26" name="Rectangle 25">
              <a:extLst>
                <a:ext uri="{FF2B5EF4-FFF2-40B4-BE49-F238E27FC236}">
                  <a16:creationId xmlns:a16="http://schemas.microsoft.com/office/drawing/2014/main" id="{C1299C86-F784-4585-8FB0-A0EA33F0BA95}"/>
                </a:ext>
              </a:extLst>
            </p:cNvPr>
            <p:cNvSpPr/>
            <p:nvPr/>
          </p:nvSpPr>
          <p:spPr>
            <a:xfrm>
              <a:off x="533400" y="4067416"/>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bwMode="auto">
            <a:xfrm>
              <a:off x="533400" y="3610216"/>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Gesture</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6131" y="4067417"/>
              <a:ext cx="1609139" cy="1371600"/>
            </a:xfrm>
            <a:prstGeom prst="rect">
              <a:avLst/>
            </a:prstGeom>
          </p:spPr>
        </p:pic>
      </p:grpSp>
      <p:grpSp>
        <p:nvGrpSpPr>
          <p:cNvPr id="30" name="Group 29">
            <a:extLst>
              <a:ext uri="{FF2B5EF4-FFF2-40B4-BE49-F238E27FC236}">
                <a16:creationId xmlns:a16="http://schemas.microsoft.com/office/drawing/2014/main" id="{3A402471-B0B3-41B1-AD61-EBF16E6150A4}"/>
              </a:ext>
            </a:extLst>
          </p:cNvPr>
          <p:cNvGrpSpPr/>
          <p:nvPr/>
        </p:nvGrpSpPr>
        <p:grpSpPr>
          <a:xfrm>
            <a:off x="6262200" y="3962398"/>
            <a:ext cx="2514600" cy="1828801"/>
            <a:chOff x="6172200" y="1371600"/>
            <a:chExt cx="2514600" cy="1828801"/>
          </a:xfrm>
        </p:grpSpPr>
        <p:sp>
          <p:nvSpPr>
            <p:cNvPr id="27" name="Rectangle 26">
              <a:extLst>
                <a:ext uri="{FF2B5EF4-FFF2-40B4-BE49-F238E27FC236}">
                  <a16:creationId xmlns:a16="http://schemas.microsoft.com/office/drawing/2014/main" id="{4FA6AC75-7AAB-4FBA-94AE-A699402228CD}"/>
                </a:ext>
              </a:extLst>
            </p:cNvPr>
            <p:cNvSpPr/>
            <p:nvPr/>
          </p:nvSpPr>
          <p:spPr>
            <a:xfrm>
              <a:off x="6172200" y="1828800"/>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6172200" y="13716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Voice com</a:t>
              </a:r>
              <a:r>
                <a:rPr lang="en-US" sz="1799" b="1">
                  <a:solidFill>
                    <a:srgbClr val="F2F2F2"/>
                  </a:solidFill>
                  <a:latin typeface="+mj-lt"/>
                </a:rPr>
                <a:t>mands</a:t>
              </a:r>
              <a:endParaRPr lang="en-US" sz="1799" b="1">
                <a:solidFill>
                  <a:srgbClr val="F2F2F2"/>
                </a:solidFill>
                <a:latin typeface="+mj-lt"/>
                <a:ea typeface="Segoe UI" pitchFamily="34" charset="0"/>
                <a:cs typeface="Segoe UI"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4931" y="1828801"/>
              <a:ext cx="1609139" cy="1371600"/>
            </a:xfrm>
            <a:prstGeom prst="rect">
              <a:avLst/>
            </a:prstGeom>
          </p:spPr>
        </p:pic>
      </p:grpSp>
      <p:grpSp>
        <p:nvGrpSpPr>
          <p:cNvPr id="31" name="Group 30">
            <a:extLst>
              <a:ext uri="{FF2B5EF4-FFF2-40B4-BE49-F238E27FC236}">
                <a16:creationId xmlns:a16="http://schemas.microsoft.com/office/drawing/2014/main" id="{EC7053B6-268D-41B2-BE1F-028C32274E13}"/>
              </a:ext>
            </a:extLst>
          </p:cNvPr>
          <p:cNvGrpSpPr/>
          <p:nvPr/>
        </p:nvGrpSpPr>
        <p:grpSpPr>
          <a:xfrm>
            <a:off x="6262200" y="1722684"/>
            <a:ext cx="2514600" cy="1828802"/>
            <a:chOff x="6019800" y="1370502"/>
            <a:chExt cx="2514600" cy="1828802"/>
          </a:xfrm>
        </p:grpSpPr>
        <p:pic>
          <p:nvPicPr>
            <p:cNvPr id="24" name="Picture 23">
              <a:extLst>
                <a:ext uri="{FF2B5EF4-FFF2-40B4-BE49-F238E27FC236}">
                  <a16:creationId xmlns:a16="http://schemas.microsoft.com/office/drawing/2014/main" id="{91A253B5-F30E-4953-BBB3-B238EC644A0C}"/>
                </a:ext>
              </a:extLst>
            </p:cNvPr>
            <p:cNvPicPr>
              <a:picLocks noChangeAspect="1"/>
            </p:cNvPicPr>
            <p:nvPr/>
          </p:nvPicPr>
          <p:blipFill rotWithShape="1">
            <a:blip r:embed="rId8"/>
            <a:srcRect t="-2904" b="41940"/>
            <a:stretch/>
          </p:blipFill>
          <p:spPr>
            <a:xfrm>
              <a:off x="6019800" y="1599104"/>
              <a:ext cx="2514600" cy="1600200"/>
            </a:xfrm>
            <a:prstGeom prst="rect">
              <a:avLst/>
            </a:prstGeom>
          </p:spPr>
        </p:pic>
        <p:sp>
          <p:nvSpPr>
            <p:cNvPr id="22" name="Rectangle 21">
              <a:extLst>
                <a:ext uri="{FF2B5EF4-FFF2-40B4-BE49-F238E27FC236}">
                  <a16:creationId xmlns:a16="http://schemas.microsoft.com/office/drawing/2014/main" id="{85082664-89C6-4E00-A482-FE2BB99EF509}"/>
                </a:ext>
              </a:extLst>
            </p:cNvPr>
            <p:cNvSpPr/>
            <p:nvPr/>
          </p:nvSpPr>
          <p:spPr bwMode="auto">
            <a:xfrm>
              <a:off x="6019800" y="1370502"/>
              <a:ext cx="2514600" cy="458297"/>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Controllers</a:t>
              </a:r>
            </a:p>
          </p:txBody>
        </p:sp>
      </p:grpSp>
      <p:sp>
        <p:nvSpPr>
          <p:cNvPr id="35" name="Rectangle 34">
            <a:extLst>
              <a:ext uri="{FF2B5EF4-FFF2-40B4-BE49-F238E27FC236}">
                <a16:creationId xmlns:a16="http://schemas.microsoft.com/office/drawing/2014/main" id="{5B9358B2-7E4E-4BD2-9411-73DF0339D8B7}"/>
              </a:ext>
            </a:extLst>
          </p:cNvPr>
          <p:cNvSpPr/>
          <p:nvPr/>
        </p:nvSpPr>
        <p:spPr bwMode="auto">
          <a:xfrm>
            <a:off x="471000" y="1722684"/>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World coordinates</a:t>
            </a:r>
          </a:p>
        </p:txBody>
      </p:sp>
      <p:pic>
        <p:nvPicPr>
          <p:cNvPr id="38" name="Picture 37">
            <a:extLst>
              <a:ext uri="{FF2B5EF4-FFF2-40B4-BE49-F238E27FC236}">
                <a16:creationId xmlns:a16="http://schemas.microsoft.com/office/drawing/2014/main" id="{E8F3BED8-249B-48D7-ACCD-8739C3649AF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6994"/>
          <a:stretch/>
        </p:blipFill>
        <p:spPr>
          <a:xfrm>
            <a:off x="471000" y="2179884"/>
            <a:ext cx="2514600" cy="1371600"/>
          </a:xfrm>
          <a:prstGeom prst="rect">
            <a:avLst/>
          </a:prstGeom>
        </p:spPr>
      </p:pic>
    </p:spTree>
    <p:extLst>
      <p:ext uri="{BB962C8B-B14F-4D97-AF65-F5344CB8AC3E}">
        <p14:creationId xmlns:p14="http://schemas.microsoft.com/office/powerpoint/2010/main" val="407401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a:t>Demo!</a:t>
            </a:r>
            <a:endParaRPr lang="en-US"/>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a:t>Augmented Reality with Gestures, Voice and Spatial Mapping </a:t>
            </a:r>
            <a:endParaRPr lang="en-US"/>
          </a:p>
        </p:txBody>
      </p:sp>
    </p:spTree>
    <p:extLst>
      <p:ext uri="{BB962C8B-B14F-4D97-AF65-F5344CB8AC3E}">
        <p14:creationId xmlns:p14="http://schemas.microsoft.com/office/powerpoint/2010/main" val="378450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5B90467-8163-4D95-BCF7-F8F86DF2DC67}"/>
              </a:ext>
            </a:extLst>
          </p:cNvPr>
          <p:cNvSpPr/>
          <p:nvPr/>
        </p:nvSpPr>
        <p:spPr>
          <a:xfrm>
            <a:off x="3886200" y="3429000"/>
            <a:ext cx="2590800"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7568C9D0-6794-40AF-A8AB-E183BB78AA63}"/>
              </a:ext>
            </a:extLst>
          </p:cNvPr>
          <p:cNvSpPr/>
          <p:nvPr/>
        </p:nvSpPr>
        <p:spPr>
          <a:xfrm>
            <a:off x="7315200" y="3429000"/>
            <a:ext cx="2590800"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972DB784-8566-4399-B68D-17D9888F0681}"/>
              </a:ext>
            </a:extLst>
          </p:cNvPr>
          <p:cNvSpPr/>
          <p:nvPr/>
        </p:nvSpPr>
        <p:spPr>
          <a:xfrm>
            <a:off x="3886200" y="6096000"/>
            <a:ext cx="2590800"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4B6184BA-C69F-4327-99AF-2CFA10E9E9C3}"/>
              </a:ext>
            </a:extLst>
          </p:cNvPr>
          <p:cNvSpPr/>
          <p:nvPr/>
        </p:nvSpPr>
        <p:spPr>
          <a:xfrm>
            <a:off x="7315199" y="6096000"/>
            <a:ext cx="2590801"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91538EC0-4CC6-45C9-8A1E-37EF429A6E7D}"/>
              </a:ext>
            </a:extLst>
          </p:cNvPr>
          <p:cNvSpPr/>
          <p:nvPr/>
        </p:nvSpPr>
        <p:spPr>
          <a:xfrm>
            <a:off x="457200" y="6096000"/>
            <a:ext cx="2590800"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2556BD53-8DFA-40A0-997C-BCE4DECBBC01}"/>
              </a:ext>
            </a:extLst>
          </p:cNvPr>
          <p:cNvSpPr/>
          <p:nvPr/>
        </p:nvSpPr>
        <p:spPr>
          <a:xfrm>
            <a:off x="457200" y="3420325"/>
            <a:ext cx="2590800" cy="457200"/>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49C2CCB3-8205-4D5C-955A-13976296CBE6}"/>
              </a:ext>
            </a:extLst>
          </p:cNvPr>
          <p:cNvSpPr>
            <a:spLocks noGrp="1"/>
          </p:cNvSpPr>
          <p:nvPr>
            <p:ph type="title"/>
          </p:nvPr>
        </p:nvSpPr>
        <p:spPr>
          <a:xfrm>
            <a:off x="336000" y="324001"/>
            <a:ext cx="11520000" cy="944999"/>
          </a:xfrm>
        </p:spPr>
        <p:txBody>
          <a:bodyPr/>
          <a:lstStyle/>
          <a:p>
            <a:r>
              <a:rPr lang="en-US">
                <a:solidFill>
                  <a:schemeClr val="tx1"/>
                </a:solidFill>
              </a:rPr>
              <a:t>Mixed Reality is </a:t>
            </a:r>
            <a:r>
              <a:rPr lang="en-US">
                <a:solidFill>
                  <a:schemeClr val="tx1"/>
                </a:solidFill>
                <a:latin typeface="Segoe UI" panose="020B0502040204020203" pitchFamily="34" charset="0"/>
              </a:rPr>
              <a:t>t</a:t>
            </a:r>
            <a:r>
              <a:rPr lang="en-US" b="1">
                <a:solidFill>
                  <a:schemeClr val="tx1"/>
                </a:solidFill>
                <a:latin typeface="Segoe UI" panose="020B0502040204020203" pitchFamily="34" charset="0"/>
              </a:rPr>
              <a:t>ransforming</a:t>
            </a:r>
            <a:r>
              <a:rPr lang="en-US">
                <a:solidFill>
                  <a:schemeClr val="tx1"/>
                </a:solidFill>
              </a:rPr>
              <a:t> industries</a:t>
            </a:r>
          </a:p>
        </p:txBody>
      </p:sp>
      <p:pic>
        <p:nvPicPr>
          <p:cNvPr id="2" name="Picture 1">
            <a:extLst>
              <a:ext uri="{FF2B5EF4-FFF2-40B4-BE49-F238E27FC236}">
                <a16:creationId xmlns:a16="http://schemas.microsoft.com/office/drawing/2014/main" id="{223AEF58-5560-42C0-8BFA-5C44D1C23D46}"/>
              </a:ext>
            </a:extLst>
          </p:cNvPr>
          <p:cNvPicPr>
            <a:picLocks noChangeAspect="1"/>
          </p:cNvPicPr>
          <p:nvPr/>
        </p:nvPicPr>
        <p:blipFill>
          <a:blip r:embed="rId3"/>
          <a:stretch>
            <a:fillRect/>
          </a:stretch>
        </p:blipFill>
        <p:spPr>
          <a:xfrm>
            <a:off x="3886200" y="6172200"/>
            <a:ext cx="969955" cy="317838"/>
          </a:xfrm>
          <a:prstGeom prst="rect">
            <a:avLst/>
          </a:prstGeom>
        </p:spPr>
      </p:pic>
      <p:pic>
        <p:nvPicPr>
          <p:cNvPr id="13" name="Picture 12">
            <a:extLst>
              <a:ext uri="{FF2B5EF4-FFF2-40B4-BE49-F238E27FC236}">
                <a16:creationId xmlns:a16="http://schemas.microsoft.com/office/drawing/2014/main" id="{3F390B12-D0F4-4B21-BA0E-D5B5CEC1B3E5}"/>
              </a:ext>
            </a:extLst>
          </p:cNvPr>
          <p:cNvPicPr>
            <a:picLocks noChangeAspect="1"/>
          </p:cNvPicPr>
          <p:nvPr/>
        </p:nvPicPr>
        <p:blipFill>
          <a:blip r:embed="rId4"/>
          <a:stretch>
            <a:fillRect/>
          </a:stretch>
        </p:blipFill>
        <p:spPr>
          <a:xfrm>
            <a:off x="457200" y="3474292"/>
            <a:ext cx="1141834" cy="349267"/>
          </a:xfrm>
          <a:prstGeom prst="rect">
            <a:avLst/>
          </a:prstGeom>
        </p:spPr>
      </p:pic>
      <p:pic>
        <p:nvPicPr>
          <p:cNvPr id="14" name="Picture 13">
            <a:extLst>
              <a:ext uri="{FF2B5EF4-FFF2-40B4-BE49-F238E27FC236}">
                <a16:creationId xmlns:a16="http://schemas.microsoft.com/office/drawing/2014/main" id="{3F12790B-46E1-4057-BE4C-6B2DE64A79FC}"/>
              </a:ext>
            </a:extLst>
          </p:cNvPr>
          <p:cNvPicPr>
            <a:picLocks noChangeAspect="1"/>
          </p:cNvPicPr>
          <p:nvPr/>
        </p:nvPicPr>
        <p:blipFill>
          <a:blip r:embed="rId5"/>
          <a:stretch>
            <a:fillRect/>
          </a:stretch>
        </p:blipFill>
        <p:spPr>
          <a:xfrm>
            <a:off x="1916953" y="3456942"/>
            <a:ext cx="499156" cy="383966"/>
          </a:xfrm>
          <a:prstGeom prst="rect">
            <a:avLst/>
          </a:prstGeom>
        </p:spPr>
      </p:pic>
      <p:pic>
        <p:nvPicPr>
          <p:cNvPr id="15" name="Picture 14">
            <a:extLst>
              <a:ext uri="{FF2B5EF4-FFF2-40B4-BE49-F238E27FC236}">
                <a16:creationId xmlns:a16="http://schemas.microsoft.com/office/drawing/2014/main" id="{4E5F7B36-B37B-4ED7-872C-94DF9D9DDF9C}"/>
              </a:ext>
            </a:extLst>
          </p:cNvPr>
          <p:cNvPicPr>
            <a:picLocks noChangeAspect="1"/>
          </p:cNvPicPr>
          <p:nvPr/>
        </p:nvPicPr>
        <p:blipFill rotWithShape="1">
          <a:blip r:embed="rId6"/>
          <a:srcRect l="5263" t="27725" b="17011"/>
          <a:stretch/>
        </p:blipFill>
        <p:spPr>
          <a:xfrm>
            <a:off x="457200" y="6172200"/>
            <a:ext cx="1371601" cy="299547"/>
          </a:xfrm>
          <a:prstGeom prst="rect">
            <a:avLst/>
          </a:prstGeom>
        </p:spPr>
      </p:pic>
      <p:pic>
        <p:nvPicPr>
          <p:cNvPr id="16" name="Picture 15">
            <a:extLst>
              <a:ext uri="{FF2B5EF4-FFF2-40B4-BE49-F238E27FC236}">
                <a16:creationId xmlns:a16="http://schemas.microsoft.com/office/drawing/2014/main" id="{38EA4AEC-DD51-4117-A429-C96BD6918826}"/>
              </a:ext>
            </a:extLst>
          </p:cNvPr>
          <p:cNvPicPr>
            <a:picLocks noChangeAspect="1"/>
          </p:cNvPicPr>
          <p:nvPr/>
        </p:nvPicPr>
        <p:blipFill>
          <a:blip r:embed="rId7"/>
          <a:stretch>
            <a:fillRect/>
          </a:stretch>
        </p:blipFill>
        <p:spPr>
          <a:xfrm>
            <a:off x="3886200" y="3429000"/>
            <a:ext cx="843433" cy="410470"/>
          </a:xfrm>
          <a:prstGeom prst="rect">
            <a:avLst/>
          </a:prstGeom>
        </p:spPr>
      </p:pic>
      <p:pic>
        <p:nvPicPr>
          <p:cNvPr id="30" name="Picture 29">
            <a:extLst>
              <a:ext uri="{FF2B5EF4-FFF2-40B4-BE49-F238E27FC236}">
                <a16:creationId xmlns:a16="http://schemas.microsoft.com/office/drawing/2014/main" id="{BF3ECA1C-5C21-415B-87E2-F12AFD47945D}"/>
              </a:ext>
            </a:extLst>
          </p:cNvPr>
          <p:cNvPicPr>
            <a:picLocks noChangeAspect="1"/>
          </p:cNvPicPr>
          <p:nvPr/>
        </p:nvPicPr>
        <p:blipFill>
          <a:blip r:embed="rId8"/>
          <a:stretch>
            <a:fillRect/>
          </a:stretch>
        </p:blipFill>
        <p:spPr>
          <a:xfrm>
            <a:off x="7315200" y="3487218"/>
            <a:ext cx="1022293" cy="340764"/>
          </a:xfrm>
          <a:prstGeom prst="rect">
            <a:avLst/>
          </a:prstGeom>
        </p:spPr>
      </p:pic>
      <p:pic>
        <p:nvPicPr>
          <p:cNvPr id="31" name="Picture 30">
            <a:extLst>
              <a:ext uri="{FF2B5EF4-FFF2-40B4-BE49-F238E27FC236}">
                <a16:creationId xmlns:a16="http://schemas.microsoft.com/office/drawing/2014/main" id="{E5F8980A-92B0-4238-8C84-C10149727AAF}"/>
              </a:ext>
            </a:extLst>
          </p:cNvPr>
          <p:cNvPicPr>
            <a:picLocks noChangeAspect="1"/>
          </p:cNvPicPr>
          <p:nvPr/>
        </p:nvPicPr>
        <p:blipFill>
          <a:blip r:embed="rId9"/>
          <a:stretch>
            <a:fillRect/>
          </a:stretch>
        </p:blipFill>
        <p:spPr>
          <a:xfrm>
            <a:off x="8610600" y="3476566"/>
            <a:ext cx="1295400" cy="362068"/>
          </a:xfrm>
          <a:prstGeom prst="rect">
            <a:avLst/>
          </a:prstGeom>
        </p:spPr>
      </p:pic>
      <p:pic>
        <p:nvPicPr>
          <p:cNvPr id="32" name="Picture 31">
            <a:extLst>
              <a:ext uri="{FF2B5EF4-FFF2-40B4-BE49-F238E27FC236}">
                <a16:creationId xmlns:a16="http://schemas.microsoft.com/office/drawing/2014/main" id="{CB6A2E97-B6AE-4AFE-9620-CC814E98EF74}"/>
              </a:ext>
            </a:extLst>
          </p:cNvPr>
          <p:cNvPicPr>
            <a:picLocks noChangeAspect="1"/>
          </p:cNvPicPr>
          <p:nvPr/>
        </p:nvPicPr>
        <p:blipFill>
          <a:blip r:embed="rId10"/>
          <a:stretch>
            <a:fillRect/>
          </a:stretch>
        </p:blipFill>
        <p:spPr>
          <a:xfrm>
            <a:off x="7315200" y="6159981"/>
            <a:ext cx="663180" cy="329238"/>
          </a:xfrm>
          <a:prstGeom prst="rect">
            <a:avLst/>
          </a:prstGeom>
        </p:spPr>
      </p:pic>
      <p:sp>
        <p:nvSpPr>
          <p:cNvPr id="33" name="Rectangle 32">
            <a:extLst>
              <a:ext uri="{FF2B5EF4-FFF2-40B4-BE49-F238E27FC236}">
                <a16:creationId xmlns:a16="http://schemas.microsoft.com/office/drawing/2014/main" id="{5A8B7483-B16D-40AD-B8F4-08793BD58EC1}"/>
              </a:ext>
            </a:extLst>
          </p:cNvPr>
          <p:cNvSpPr/>
          <p:nvPr/>
        </p:nvSpPr>
        <p:spPr>
          <a:xfrm>
            <a:off x="381000" y="1066800"/>
            <a:ext cx="4648200" cy="253916"/>
          </a:xfrm>
          <a:prstGeom prst="rect">
            <a:avLst/>
          </a:prstGeom>
        </p:spPr>
        <p:txBody>
          <a:bodyPr wrap="square">
            <a:spAutoFit/>
          </a:bodyPr>
          <a:lstStyle/>
          <a:p>
            <a:r>
              <a:rPr lang="en-US" sz="1050">
                <a:hlinkClick r:id="rId11"/>
              </a:rPr>
              <a:t>https://www.microsoft.com/en-us/hololens/commercial-overview</a:t>
            </a:r>
            <a:r>
              <a:rPr lang="en-US" sz="1050"/>
              <a:t> </a:t>
            </a:r>
          </a:p>
        </p:txBody>
      </p:sp>
      <p:sp>
        <p:nvSpPr>
          <p:cNvPr id="24" name="TextBox 23">
            <a:extLst>
              <a:ext uri="{FF2B5EF4-FFF2-40B4-BE49-F238E27FC236}">
                <a16:creationId xmlns:a16="http://schemas.microsoft.com/office/drawing/2014/main" id="{CAE154BA-1BFA-4ADE-9575-8AE959BC38A6}"/>
              </a:ext>
            </a:extLst>
          </p:cNvPr>
          <p:cNvSpPr txBox="1"/>
          <p:nvPr/>
        </p:nvSpPr>
        <p:spPr>
          <a:xfrm>
            <a:off x="381001" y="1600199"/>
            <a:ext cx="2743199"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Manufacturing &amp; Aerospace</a:t>
            </a:r>
          </a:p>
        </p:txBody>
      </p:sp>
      <p:pic>
        <p:nvPicPr>
          <p:cNvPr id="12" name="Picture 11">
            <a:extLst>
              <a:ext uri="{FF2B5EF4-FFF2-40B4-BE49-F238E27FC236}">
                <a16:creationId xmlns:a16="http://schemas.microsoft.com/office/drawing/2014/main" id="{1146FF6D-21D3-46BF-B944-58832B1F12A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7200" y="1981200"/>
            <a:ext cx="2590800" cy="1457325"/>
          </a:xfrm>
          <a:prstGeom prst="rect">
            <a:avLst/>
          </a:prstGeom>
        </p:spPr>
      </p:pic>
      <p:sp>
        <p:nvSpPr>
          <p:cNvPr id="25" name="TextBox 24">
            <a:extLst>
              <a:ext uri="{FF2B5EF4-FFF2-40B4-BE49-F238E27FC236}">
                <a16:creationId xmlns:a16="http://schemas.microsoft.com/office/drawing/2014/main" id="{AF341FA9-875E-41BD-946F-972F61220F5E}"/>
              </a:ext>
            </a:extLst>
          </p:cNvPr>
          <p:cNvSpPr txBox="1"/>
          <p:nvPr/>
        </p:nvSpPr>
        <p:spPr>
          <a:xfrm>
            <a:off x="3810000" y="1600199"/>
            <a:ext cx="2676270"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Public Sector / Government</a:t>
            </a:r>
          </a:p>
        </p:txBody>
      </p:sp>
      <p:pic>
        <p:nvPicPr>
          <p:cNvPr id="34" name="Picture 33">
            <a:extLst>
              <a:ext uri="{FF2B5EF4-FFF2-40B4-BE49-F238E27FC236}">
                <a16:creationId xmlns:a16="http://schemas.microsoft.com/office/drawing/2014/main" id="{C892E583-23A9-4E9D-B9FF-73B2B7057556}"/>
              </a:ext>
            </a:extLst>
          </p:cNvPr>
          <p:cNvPicPr>
            <a:picLocks noChangeAspect="1"/>
          </p:cNvPicPr>
          <p:nvPr/>
        </p:nvPicPr>
        <p:blipFill rotWithShape="1">
          <a:blip r:embed="rId13">
            <a:extLst/>
          </a:blip>
          <a:srcRect r="23405"/>
          <a:stretch/>
        </p:blipFill>
        <p:spPr>
          <a:xfrm>
            <a:off x="3886200" y="1981199"/>
            <a:ext cx="2590800" cy="1463199"/>
          </a:xfrm>
          <a:prstGeom prst="rect">
            <a:avLst/>
          </a:prstGeom>
        </p:spPr>
      </p:pic>
      <p:sp>
        <p:nvSpPr>
          <p:cNvPr id="27" name="TextBox 26">
            <a:extLst>
              <a:ext uri="{FF2B5EF4-FFF2-40B4-BE49-F238E27FC236}">
                <a16:creationId xmlns:a16="http://schemas.microsoft.com/office/drawing/2014/main" id="{BFA712C8-E2FD-4527-91C2-CC8C71E82599}"/>
              </a:ext>
            </a:extLst>
          </p:cNvPr>
          <p:cNvSpPr txBox="1"/>
          <p:nvPr/>
        </p:nvSpPr>
        <p:spPr>
          <a:xfrm>
            <a:off x="7239000" y="1600199"/>
            <a:ext cx="1961094"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A, E, &amp; C</a:t>
            </a:r>
          </a:p>
        </p:txBody>
      </p:sp>
      <p:pic>
        <p:nvPicPr>
          <p:cNvPr id="2050" name="Picture 2" descr="Wearing HoloLens, a construction manager can compare full-scale holographic blueprints and plans on the physical job site">
            <a:extLst>
              <a:ext uri="{FF2B5EF4-FFF2-40B4-BE49-F238E27FC236}">
                <a16:creationId xmlns:a16="http://schemas.microsoft.com/office/drawing/2014/main" id="{59449933-B2D8-4AE5-AEAF-B6EF212A370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315200" y="1981199"/>
            <a:ext cx="2590800" cy="145732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73AD8A6-9EDB-4F7E-B7CC-FA1D837529C8}"/>
              </a:ext>
            </a:extLst>
          </p:cNvPr>
          <p:cNvSpPr txBox="1"/>
          <p:nvPr/>
        </p:nvSpPr>
        <p:spPr>
          <a:xfrm>
            <a:off x="381000" y="4267199"/>
            <a:ext cx="1407712"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Education</a:t>
            </a:r>
          </a:p>
        </p:txBody>
      </p:sp>
      <p:pic>
        <p:nvPicPr>
          <p:cNvPr id="2052" name="Picture 4" descr="A medical student wearing HoloLens learns human anatomy using holographic 3D models">
            <a:extLst>
              <a:ext uri="{FF2B5EF4-FFF2-40B4-BE49-F238E27FC236}">
                <a16:creationId xmlns:a16="http://schemas.microsoft.com/office/drawing/2014/main" id="{6D384C91-565E-4923-A439-E1A90A4B20E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7200" y="4648199"/>
            <a:ext cx="2590800" cy="1457325"/>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10DB582D-DBB9-4CB0-9684-44FACAAA5AF2}"/>
              </a:ext>
            </a:extLst>
          </p:cNvPr>
          <p:cNvSpPr txBox="1"/>
          <p:nvPr/>
        </p:nvSpPr>
        <p:spPr>
          <a:xfrm>
            <a:off x="3810000" y="4267199"/>
            <a:ext cx="1407712"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Healthcare</a:t>
            </a:r>
          </a:p>
        </p:txBody>
      </p:sp>
      <p:pic>
        <p:nvPicPr>
          <p:cNvPr id="2054" name="Picture 6" descr="A team from Stryker uses HoloLens to design an operating room, collaborating in mixed reality ">
            <a:extLst>
              <a:ext uri="{FF2B5EF4-FFF2-40B4-BE49-F238E27FC236}">
                <a16:creationId xmlns:a16="http://schemas.microsoft.com/office/drawing/2014/main" id="{3A5E6412-8D99-4209-8461-11E7758A9DA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86200" y="4648199"/>
            <a:ext cx="2590800" cy="145732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ABDABC62-4872-47D3-B9D5-C5196ECB940B}"/>
              </a:ext>
            </a:extLst>
          </p:cNvPr>
          <p:cNvSpPr txBox="1"/>
          <p:nvPr/>
        </p:nvSpPr>
        <p:spPr>
          <a:xfrm>
            <a:off x="7239000" y="4267199"/>
            <a:ext cx="1407712" cy="338554"/>
          </a:xfrm>
          <a:prstGeom prst="rect">
            <a:avLst/>
          </a:prstGeom>
          <a:noFill/>
        </p:spPr>
        <p:txBody>
          <a:bodyPr wrap="square" rtlCol="0">
            <a:spAutoFit/>
          </a:bodyPr>
          <a:lstStyle/>
          <a:p>
            <a:pPr defTabSz="914367">
              <a:defRPr/>
            </a:pPr>
            <a:r>
              <a:rPr lang="en-US" sz="1600" b="1" spc="-50">
                <a:solidFill>
                  <a:srgbClr val="163555"/>
                </a:solidFill>
                <a:latin typeface="Segoe UI" panose="020B0502040204020203" pitchFamily="34" charset="0"/>
                <a:cs typeface="Segoe UI" panose="020B0502040204020203" pitchFamily="34" charset="0"/>
              </a:rPr>
              <a:t>Retail</a:t>
            </a:r>
          </a:p>
        </p:txBody>
      </p:sp>
      <p:pic>
        <p:nvPicPr>
          <p:cNvPr id="36" name="Picture 35">
            <a:extLst>
              <a:ext uri="{FF2B5EF4-FFF2-40B4-BE49-F238E27FC236}">
                <a16:creationId xmlns:a16="http://schemas.microsoft.com/office/drawing/2014/main" id="{49DC92D9-8FD2-4F63-8127-EAD7BD436E6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5200" y="4648199"/>
            <a:ext cx="2590800" cy="1457325"/>
          </a:xfrm>
          <a:prstGeom prst="rect">
            <a:avLst/>
          </a:prstGeom>
        </p:spPr>
      </p:pic>
    </p:spTree>
    <p:extLst>
      <p:ext uri="{BB962C8B-B14F-4D97-AF65-F5344CB8AC3E}">
        <p14:creationId xmlns:p14="http://schemas.microsoft.com/office/powerpoint/2010/main" val="346806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0857894-299C-484C-8FA7-BF1EA995F613}"/>
              </a:ext>
            </a:extLst>
          </p:cNvPr>
          <p:cNvGrpSpPr/>
          <p:nvPr/>
        </p:nvGrpSpPr>
        <p:grpSpPr>
          <a:xfrm>
            <a:off x="5009239" y="2057400"/>
            <a:ext cx="2065078" cy="3719158"/>
            <a:chOff x="5009239" y="2057400"/>
            <a:chExt cx="2065078" cy="3719158"/>
          </a:xfrm>
        </p:grpSpPr>
        <p:sp>
          <p:nvSpPr>
            <p:cNvPr id="74" name="Text Placeholder 1"/>
            <p:cNvSpPr txBox="1">
              <a:spLocks/>
            </p:cNvSpPr>
            <p:nvPr/>
          </p:nvSpPr>
          <p:spPr>
            <a:xfrm>
              <a:off x="5009239" y="5093342"/>
              <a:ext cx="1916468" cy="683216"/>
            </a:xfrm>
            <a:prstGeom prst="rect">
              <a:avLst/>
            </a:prstGeom>
          </p:spPr>
          <p:txBody>
            <a:bodyPr vert="horz" wrap="square" lIns="146266" tIns="91416" rIns="146266" bIns="91416"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93">
                <a:buClr>
                  <a:srgbClr val="505050"/>
                </a:buClr>
              </a:pPr>
              <a:r>
                <a:rPr lang="en-US" sz="1800" b="1" spc="-50">
                  <a:solidFill>
                    <a:srgbClr val="163555"/>
                  </a:solidFill>
                  <a:latin typeface="Segoe UI" panose="020B0502040204020203" pitchFamily="34" charset="0"/>
                  <a:cs typeface="Segoe UI" panose="020B0502040204020203" pitchFamily="34" charset="0"/>
                </a:rPr>
                <a:t>Training &amp; Development</a:t>
              </a:r>
            </a:p>
          </p:txBody>
        </p:sp>
        <p:pic>
          <p:nvPicPr>
            <p:cNvPr id="75" name="Picture 74"/>
            <p:cNvPicPr>
              <a:picLocks noChangeAspect="1"/>
            </p:cNvPicPr>
            <p:nvPr/>
          </p:nvPicPr>
          <p:blipFill rotWithShape="1">
            <a:blip r:embed="rId3" cstate="screen">
              <a:extLst>
                <a:ext uri="{28A0092B-C50C-407E-A947-70E740481C1C}">
                  <a14:useLocalDpi xmlns:a14="http://schemas.microsoft.com/office/drawing/2010/main"/>
                </a:ext>
              </a:extLst>
            </a:blip>
            <a:srcRect t="7933"/>
            <a:stretch/>
          </p:blipFill>
          <p:spPr>
            <a:xfrm>
              <a:off x="5154577" y="2057400"/>
              <a:ext cx="1919740" cy="3029930"/>
            </a:xfrm>
            <a:prstGeom prst="rect">
              <a:avLst/>
            </a:prstGeom>
          </p:spPr>
        </p:pic>
      </p:grpSp>
      <p:grpSp>
        <p:nvGrpSpPr>
          <p:cNvPr id="4" name="Group 3">
            <a:extLst>
              <a:ext uri="{FF2B5EF4-FFF2-40B4-BE49-F238E27FC236}">
                <a16:creationId xmlns:a16="http://schemas.microsoft.com/office/drawing/2014/main" id="{1D320C4C-7FC2-4F56-8DDA-B61F22416732}"/>
              </a:ext>
            </a:extLst>
          </p:cNvPr>
          <p:cNvGrpSpPr/>
          <p:nvPr/>
        </p:nvGrpSpPr>
        <p:grpSpPr>
          <a:xfrm>
            <a:off x="2721758" y="2057400"/>
            <a:ext cx="2065077" cy="3719158"/>
            <a:chOff x="2721758" y="2057400"/>
            <a:chExt cx="2065077" cy="3719158"/>
          </a:xfrm>
        </p:grpSpPr>
        <p:sp>
          <p:nvSpPr>
            <p:cNvPr id="76" name="Text Placeholder 1"/>
            <p:cNvSpPr txBox="1">
              <a:spLocks/>
            </p:cNvSpPr>
            <p:nvPr/>
          </p:nvSpPr>
          <p:spPr>
            <a:xfrm>
              <a:off x="2721758" y="5093342"/>
              <a:ext cx="1922415" cy="683216"/>
            </a:xfrm>
            <a:prstGeom prst="rect">
              <a:avLst/>
            </a:prstGeom>
          </p:spPr>
          <p:txBody>
            <a:bodyPr vert="horz" wrap="square" lIns="146266" tIns="91416" rIns="146266" bIns="91416"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93">
                <a:buClr>
                  <a:srgbClr val="505050"/>
                </a:buClr>
              </a:pPr>
              <a:r>
                <a:rPr lang="en-US" sz="1800" b="1" spc="-50">
                  <a:solidFill>
                    <a:srgbClr val="163555"/>
                  </a:solidFill>
                  <a:latin typeface="Segoe UI" panose="020B0502040204020203" pitchFamily="34" charset="0"/>
                  <a:cs typeface="Segoe UI" panose="020B0502040204020203" pitchFamily="34" charset="0"/>
                </a:rPr>
                <a:t>Assembly &amp; Manufacturing</a:t>
              </a:r>
            </a:p>
          </p:txBody>
        </p:sp>
        <p:pic>
          <p:nvPicPr>
            <p:cNvPr id="77" name="Picture 76"/>
            <p:cNvPicPr>
              <a:picLocks noChangeAspect="1"/>
            </p:cNvPicPr>
            <p:nvPr/>
          </p:nvPicPr>
          <p:blipFill rotWithShape="1">
            <a:blip r:embed="rId4" cstate="screen">
              <a:extLst>
                <a:ext uri="{28A0092B-C50C-407E-A947-70E740481C1C}">
                  <a14:useLocalDpi xmlns:a14="http://schemas.microsoft.com/office/drawing/2010/main"/>
                </a:ext>
              </a:extLst>
            </a:blip>
            <a:srcRect t="7933"/>
            <a:stretch/>
          </p:blipFill>
          <p:spPr>
            <a:xfrm>
              <a:off x="2867095" y="2057400"/>
              <a:ext cx="1919740" cy="3029930"/>
            </a:xfrm>
            <a:prstGeom prst="rect">
              <a:avLst/>
            </a:prstGeom>
          </p:spPr>
        </p:pic>
      </p:grpSp>
      <p:grpSp>
        <p:nvGrpSpPr>
          <p:cNvPr id="6" name="Group 5">
            <a:extLst>
              <a:ext uri="{FF2B5EF4-FFF2-40B4-BE49-F238E27FC236}">
                <a16:creationId xmlns:a16="http://schemas.microsoft.com/office/drawing/2014/main" id="{BBFEB8C0-81EA-4792-9B38-D6E81AD6FB0B}"/>
              </a:ext>
            </a:extLst>
          </p:cNvPr>
          <p:cNvGrpSpPr/>
          <p:nvPr/>
        </p:nvGrpSpPr>
        <p:grpSpPr>
          <a:xfrm>
            <a:off x="7290774" y="2057400"/>
            <a:ext cx="2369543" cy="3721313"/>
            <a:chOff x="7290774" y="2057400"/>
            <a:chExt cx="2369543" cy="3721313"/>
          </a:xfrm>
        </p:grpSpPr>
        <p:sp>
          <p:nvSpPr>
            <p:cNvPr id="78" name="Text Placeholder 1"/>
            <p:cNvSpPr txBox="1">
              <a:spLocks/>
            </p:cNvSpPr>
            <p:nvPr/>
          </p:nvSpPr>
          <p:spPr>
            <a:xfrm>
              <a:off x="7290774" y="5095497"/>
              <a:ext cx="2369543" cy="683216"/>
            </a:xfrm>
            <a:prstGeom prst="rect">
              <a:avLst/>
            </a:prstGeom>
          </p:spPr>
          <p:txBody>
            <a:bodyPr vert="horz" wrap="square" lIns="146266" tIns="91416" rIns="146266" bIns="91416"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93">
                <a:buClr>
                  <a:srgbClr val="505050"/>
                </a:buClr>
              </a:pPr>
              <a:r>
                <a:rPr lang="en-US" sz="1800" b="1" spc="-50">
                  <a:solidFill>
                    <a:srgbClr val="163555"/>
                  </a:solidFill>
                  <a:latin typeface="Segoe UI" panose="020B0502040204020203" pitchFamily="34" charset="0"/>
                  <a:cs typeface="Segoe UI" panose="020B0502040204020203" pitchFamily="34" charset="0"/>
                </a:rPr>
                <a:t>Communication &amp; Understanding</a:t>
              </a:r>
            </a:p>
          </p:txBody>
        </p:sp>
        <p:pic>
          <p:nvPicPr>
            <p:cNvPr id="79" name="Picture 78"/>
            <p:cNvPicPr>
              <a:picLocks noChangeAspect="1"/>
            </p:cNvPicPr>
            <p:nvPr/>
          </p:nvPicPr>
          <p:blipFill rotWithShape="1">
            <a:blip r:embed="rId5" cstate="screen">
              <a:extLst>
                <a:ext uri="{28A0092B-C50C-407E-A947-70E740481C1C}">
                  <a14:useLocalDpi xmlns:a14="http://schemas.microsoft.com/office/drawing/2010/main"/>
                </a:ext>
              </a:extLst>
            </a:blip>
            <a:srcRect t="7933"/>
            <a:stretch/>
          </p:blipFill>
          <p:spPr>
            <a:xfrm>
              <a:off x="7442059" y="2057400"/>
              <a:ext cx="1919740" cy="3029930"/>
            </a:xfrm>
            <a:prstGeom prst="rect">
              <a:avLst/>
            </a:prstGeom>
            <a:effectLst>
              <a:softEdge rad="0"/>
            </a:effectLst>
          </p:spPr>
        </p:pic>
      </p:grpSp>
      <p:grpSp>
        <p:nvGrpSpPr>
          <p:cNvPr id="7" name="Group 6">
            <a:extLst>
              <a:ext uri="{FF2B5EF4-FFF2-40B4-BE49-F238E27FC236}">
                <a16:creationId xmlns:a16="http://schemas.microsoft.com/office/drawing/2014/main" id="{CCF84A1D-72DD-4001-BEF8-39B9C21EE13D}"/>
              </a:ext>
            </a:extLst>
          </p:cNvPr>
          <p:cNvGrpSpPr/>
          <p:nvPr/>
        </p:nvGrpSpPr>
        <p:grpSpPr>
          <a:xfrm>
            <a:off x="9584204" y="2057400"/>
            <a:ext cx="2332505" cy="3719158"/>
            <a:chOff x="9584204" y="2057400"/>
            <a:chExt cx="2332505" cy="3719158"/>
          </a:xfrm>
        </p:grpSpPr>
        <p:sp>
          <p:nvSpPr>
            <p:cNvPr id="80" name="Text Placeholder 1"/>
            <p:cNvSpPr txBox="1">
              <a:spLocks/>
            </p:cNvSpPr>
            <p:nvPr/>
          </p:nvSpPr>
          <p:spPr>
            <a:xfrm>
              <a:off x="9584204" y="5093342"/>
              <a:ext cx="2332505" cy="683216"/>
            </a:xfrm>
            <a:prstGeom prst="rect">
              <a:avLst/>
            </a:prstGeom>
          </p:spPr>
          <p:txBody>
            <a:bodyPr vert="horz" wrap="square" lIns="146266" tIns="91416" rIns="146266" bIns="91416"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chemeClr val="tx1"/>
                </a:buClr>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93">
                <a:buClr>
                  <a:srgbClr val="505050"/>
                </a:buClr>
              </a:pPr>
              <a:r>
                <a:rPr lang="en-US" sz="1800" b="1" spc="-50">
                  <a:solidFill>
                    <a:srgbClr val="163555"/>
                  </a:solidFill>
                  <a:latin typeface="Segoe UI" panose="020B0502040204020203" pitchFamily="34" charset="0"/>
                  <a:cs typeface="Segoe UI" panose="020B0502040204020203" pitchFamily="34" charset="0"/>
                </a:rPr>
                <a:t>Entertainment &amp; Engagement</a:t>
              </a:r>
            </a:p>
          </p:txBody>
        </p:sp>
        <p:pic>
          <p:nvPicPr>
            <p:cNvPr id="82" name="Picture 81"/>
            <p:cNvPicPr>
              <a:picLocks noChangeAspect="1"/>
            </p:cNvPicPr>
            <p:nvPr/>
          </p:nvPicPr>
          <p:blipFill rotWithShape="1">
            <a:blip r:embed="rId6" cstate="screen">
              <a:extLst>
                <a:ext uri="{28A0092B-C50C-407E-A947-70E740481C1C}">
                  <a14:useLocalDpi xmlns:a14="http://schemas.microsoft.com/office/drawing/2010/main"/>
                </a:ext>
              </a:extLst>
            </a:blip>
            <a:srcRect t="7992"/>
            <a:stretch/>
          </p:blipFill>
          <p:spPr>
            <a:xfrm>
              <a:off x="9729542" y="2057400"/>
              <a:ext cx="1919740" cy="3029930"/>
            </a:xfrm>
            <a:prstGeom prst="rect">
              <a:avLst/>
            </a:prstGeom>
          </p:spPr>
        </p:pic>
      </p:grpSp>
      <p:grpSp>
        <p:nvGrpSpPr>
          <p:cNvPr id="3" name="Group 2">
            <a:extLst>
              <a:ext uri="{FF2B5EF4-FFF2-40B4-BE49-F238E27FC236}">
                <a16:creationId xmlns:a16="http://schemas.microsoft.com/office/drawing/2014/main" id="{1131415A-114F-4ACB-BFDC-57E6A1D1D459}"/>
              </a:ext>
            </a:extLst>
          </p:cNvPr>
          <p:cNvGrpSpPr/>
          <p:nvPr/>
        </p:nvGrpSpPr>
        <p:grpSpPr>
          <a:xfrm>
            <a:off x="434274" y="2057400"/>
            <a:ext cx="2065079" cy="3719205"/>
            <a:chOff x="434274" y="2057400"/>
            <a:chExt cx="2065079" cy="3719205"/>
          </a:xfrm>
        </p:grpSpPr>
        <p:sp>
          <p:nvSpPr>
            <p:cNvPr id="73" name="Text Placeholder 1"/>
            <p:cNvSpPr txBox="1">
              <a:spLocks/>
            </p:cNvSpPr>
            <p:nvPr/>
          </p:nvSpPr>
          <p:spPr>
            <a:xfrm>
              <a:off x="434274" y="5093341"/>
              <a:ext cx="1919741" cy="683264"/>
            </a:xfrm>
            <a:prstGeom prst="rect">
              <a:avLst/>
            </a:prstGeom>
          </p:spPr>
          <p:txBody>
            <a:bodyPr vert="horz" wrap="square" lIns="146304" tIns="91440" rIns="146304" bIns="91440" rtlCol="0">
              <a:spAutoFit/>
            </a:bodyPr>
            <a:lstStyle>
              <a:lvl1pPr marL="0" marR="0" indent="0" algn="l" defTabSz="914093" rtl="0" eaLnBrk="1" fontAlgn="auto" latinLnBrk="0" hangingPunct="1">
                <a:lnSpc>
                  <a:spcPct val="90000"/>
                </a:lnSpc>
                <a:spcBef>
                  <a:spcPct val="20000"/>
                </a:spcBef>
                <a:spcAft>
                  <a:spcPts val="0"/>
                </a:spcAft>
                <a:buClr>
                  <a:schemeClr val="tx1"/>
                </a:buClr>
                <a:buSzPct val="90000"/>
                <a:buFont typeface="Arial" pitchFamily="34" charset="0"/>
                <a:buNone/>
                <a:tabLst/>
                <a:defRPr sz="3599" kern="1200" spc="0" baseline="0">
                  <a:gradFill>
                    <a:gsLst>
                      <a:gs pos="1250">
                        <a:schemeClr val="tx1"/>
                      </a:gs>
                      <a:gs pos="99000">
                        <a:schemeClr val="tx1"/>
                      </a:gs>
                    </a:gsLst>
                    <a:lin ang="5400000" scaled="0"/>
                  </a:gradFill>
                  <a:latin typeface="+mj-lt"/>
                  <a:ea typeface="+mn-ea"/>
                  <a:cs typeface="+mn-cs"/>
                </a:defRPr>
              </a:lvl1pPr>
              <a:lvl2pPr marL="0" marR="0" indent="0" algn="l" defTabSz="914093" rtl="0" eaLnBrk="1" fontAlgn="auto" latinLnBrk="0" hangingPunct="1">
                <a:lnSpc>
                  <a:spcPct val="90000"/>
                </a:lnSpc>
                <a:spcBef>
                  <a:spcPct val="20000"/>
                </a:spcBef>
                <a:spcAft>
                  <a:spcPts val="0"/>
                </a:spcAft>
                <a:buClr>
                  <a:schemeClr val="tx1"/>
                </a:buClr>
                <a:buSzPct val="90000"/>
                <a:buFontTx/>
                <a:buNone/>
                <a:tabLst/>
                <a:defRPr sz="1960" kern="1200" spc="0" baseline="0">
                  <a:gradFill>
                    <a:gsLst>
                      <a:gs pos="1250">
                        <a:schemeClr val="tx1"/>
                      </a:gs>
                      <a:gs pos="100000">
                        <a:schemeClr val="tx1"/>
                      </a:gs>
                    </a:gsLst>
                    <a:lin ang="5400000" scaled="0"/>
                  </a:gradFill>
                  <a:latin typeface="+mn-lt"/>
                  <a:ea typeface="+mn-ea"/>
                  <a:cs typeface="+mn-cs"/>
                </a:defRPr>
              </a:lvl2pPr>
              <a:lvl3pPr marL="224030" marR="0" indent="0" algn="l" defTabSz="914093" rtl="0" eaLnBrk="1" fontAlgn="auto" latinLnBrk="0" hangingPunct="1">
                <a:lnSpc>
                  <a:spcPct val="90000"/>
                </a:lnSpc>
                <a:spcBef>
                  <a:spcPct val="20000"/>
                </a:spcBef>
                <a:spcAft>
                  <a:spcPts val="0"/>
                </a:spcAft>
                <a:buClr>
                  <a:schemeClr val="tx1"/>
                </a:buClr>
                <a:buSzPct val="90000"/>
                <a:buFont typeface="Arial" pitchFamily="34" charset="0"/>
                <a:buNone/>
                <a:tabLst/>
                <a:defRPr sz="1960" kern="1200" spc="0" baseline="0">
                  <a:gradFill>
                    <a:gsLst>
                      <a:gs pos="1250">
                        <a:schemeClr val="tx1"/>
                      </a:gs>
                      <a:gs pos="100000">
                        <a:schemeClr val="tx1"/>
                      </a:gs>
                    </a:gsLst>
                    <a:lin ang="5400000" scaled="0"/>
                  </a:gradFill>
                  <a:latin typeface="+mn-lt"/>
                  <a:ea typeface="+mn-ea"/>
                  <a:cs typeface="+mn-cs"/>
                </a:defRPr>
              </a:lvl3pPr>
              <a:lvl4pPr marL="448059" marR="0" indent="0" algn="l" defTabSz="914093" rtl="0" eaLnBrk="1" fontAlgn="auto" latinLnBrk="0" hangingPunct="1">
                <a:lnSpc>
                  <a:spcPct val="90000"/>
                </a:lnSpc>
                <a:spcBef>
                  <a:spcPct val="20000"/>
                </a:spcBef>
                <a:spcAft>
                  <a:spcPts val="0"/>
                </a:spcAft>
                <a:buClr>
                  <a:schemeClr val="tx1"/>
                </a:buClr>
                <a:buSzPct val="90000"/>
                <a:buFont typeface="Arial" pitchFamily="34" charset="0"/>
                <a:buNone/>
                <a:tabLst/>
                <a:defRPr sz="1764" kern="1200" spc="0" baseline="0">
                  <a:gradFill>
                    <a:gsLst>
                      <a:gs pos="1250">
                        <a:schemeClr val="tx1"/>
                      </a:gs>
                      <a:gs pos="100000">
                        <a:schemeClr val="tx1"/>
                      </a:gs>
                    </a:gsLst>
                    <a:lin ang="5400000" scaled="0"/>
                  </a:gradFill>
                  <a:latin typeface="+mn-lt"/>
                  <a:ea typeface="+mn-ea"/>
                  <a:cs typeface="+mn-cs"/>
                </a:defRPr>
              </a:lvl4pPr>
              <a:lvl5pPr marL="672088" marR="0" indent="0" algn="l" defTabSz="914093" rtl="0" eaLnBrk="1" fontAlgn="auto" latinLnBrk="0" hangingPunct="1">
                <a:lnSpc>
                  <a:spcPct val="90000"/>
                </a:lnSpc>
                <a:spcBef>
                  <a:spcPct val="20000"/>
                </a:spcBef>
                <a:spcAft>
                  <a:spcPts val="0"/>
                </a:spcAft>
                <a:buClr>
                  <a:schemeClr val="tx1"/>
                </a:buClr>
                <a:buSzPct val="90000"/>
                <a:buFont typeface="Arial" pitchFamily="34" charset="0"/>
                <a:buNone/>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rgbClr val="505050"/>
                </a:buClr>
                <a:defRPr/>
              </a:pPr>
              <a:r>
                <a:rPr lang="en-US" sz="1800" b="1" spc="-50">
                  <a:solidFill>
                    <a:srgbClr val="163555"/>
                  </a:solidFill>
                  <a:latin typeface="Segoe UI" panose="020B0502040204020203" pitchFamily="34" charset="0"/>
                  <a:cs typeface="Segoe UI" panose="020B0502040204020203" pitchFamily="34" charset="0"/>
                </a:rPr>
                <a:t>Creation &amp; Design</a:t>
              </a:r>
            </a:p>
          </p:txBody>
        </p:sp>
        <p:pic>
          <p:nvPicPr>
            <p:cNvPr id="83" name="Picture 82"/>
            <p:cNvPicPr>
              <a:picLocks noChangeAspect="1"/>
            </p:cNvPicPr>
            <p:nvPr/>
          </p:nvPicPr>
          <p:blipFill rotWithShape="1">
            <a:blip r:embed="rId7" cstate="screen">
              <a:extLst>
                <a:ext uri="{28A0092B-C50C-407E-A947-70E740481C1C}">
                  <a14:useLocalDpi xmlns:a14="http://schemas.microsoft.com/office/drawing/2010/main"/>
                </a:ext>
              </a:extLst>
            </a:blip>
            <a:srcRect t="7992"/>
            <a:stretch/>
          </p:blipFill>
          <p:spPr>
            <a:xfrm>
              <a:off x="579612" y="2057400"/>
              <a:ext cx="1919741" cy="3029930"/>
            </a:xfrm>
            <a:prstGeom prst="rect">
              <a:avLst/>
            </a:prstGeom>
          </p:spPr>
        </p:pic>
      </p:grpSp>
      <p:sp>
        <p:nvSpPr>
          <p:cNvPr id="2" name="Title 1"/>
          <p:cNvSpPr>
            <a:spLocks noGrp="1"/>
          </p:cNvSpPr>
          <p:nvPr>
            <p:ph type="title"/>
          </p:nvPr>
        </p:nvSpPr>
        <p:spPr/>
        <p:txBody>
          <a:bodyPr/>
          <a:lstStyle/>
          <a:p>
            <a:r>
              <a:rPr lang="en-US"/>
              <a:t>The Era of Mixed Reality </a:t>
            </a:r>
          </a:p>
        </p:txBody>
      </p:sp>
    </p:spTree>
    <p:extLst>
      <p:ext uri="{BB962C8B-B14F-4D97-AF65-F5344CB8AC3E}">
        <p14:creationId xmlns:p14="http://schemas.microsoft.com/office/powerpoint/2010/main" val="60113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anim calcmode="lin" valueType="num">
                                      <p:cBhvr>
                                        <p:cTn id="23" dur="500" fill="hold"/>
                                        <p:tgtEl>
                                          <p:spTgt spid="6"/>
                                        </p:tgtEl>
                                        <p:attrNameLst>
                                          <p:attrName>ppt_x</p:attrName>
                                        </p:attrNameLst>
                                      </p:cBhvr>
                                      <p:tavLst>
                                        <p:tav tm="0">
                                          <p:val>
                                            <p:strVal val="#ppt_x"/>
                                          </p:val>
                                        </p:tav>
                                        <p:tav tm="100000">
                                          <p:val>
                                            <p:strVal val="#ppt_x"/>
                                          </p:val>
                                        </p:tav>
                                      </p:tavLst>
                                    </p:anim>
                                    <p:anim calcmode="lin" valueType="num">
                                      <p:cBhvr>
                                        <p:cTn id="24" dur="500" fill="hold"/>
                                        <p:tgtEl>
                                          <p:spTgt spid="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anim calcmode="lin" valueType="num">
                                      <p:cBhvr>
                                        <p:cTn id="28" dur="500" fill="hold"/>
                                        <p:tgtEl>
                                          <p:spTgt spid="7"/>
                                        </p:tgtEl>
                                        <p:attrNameLst>
                                          <p:attrName>ppt_x</p:attrName>
                                        </p:attrNameLst>
                                      </p:cBhvr>
                                      <p:tavLst>
                                        <p:tav tm="0">
                                          <p:val>
                                            <p:strVal val="#ppt_x"/>
                                          </p:val>
                                        </p:tav>
                                        <p:tav tm="100000">
                                          <p:val>
                                            <p:strVal val="#ppt_x"/>
                                          </p:val>
                                        </p:tav>
                                      </p:tavLst>
                                    </p:anim>
                                    <p:anim calcmode="lin" valueType="num">
                                      <p:cBhvr>
                                        <p:cTn id="2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903310-9D61-416E-8052-3A89EE20E327}"/>
              </a:ext>
            </a:extLst>
          </p:cNvPr>
          <p:cNvSpPr>
            <a:spLocks noGrp="1"/>
          </p:cNvSpPr>
          <p:nvPr>
            <p:ph type="body" sz="quarter" idx="10"/>
          </p:nvPr>
        </p:nvSpPr>
        <p:spPr/>
        <p:txBody>
          <a:bodyPr/>
          <a:lstStyle/>
          <a:p>
            <a:r>
              <a:rPr lang="en-GB"/>
              <a:t>Export a Unity project</a:t>
            </a:r>
          </a:p>
          <a:p>
            <a:r>
              <a:rPr lang="en-GB"/>
              <a:t>Create a scene </a:t>
            </a:r>
          </a:p>
          <a:p>
            <a:r>
              <a:rPr lang="en-GB"/>
              <a:t>Add Controller support, gestures  &amp; teleporting </a:t>
            </a:r>
          </a:p>
          <a:p>
            <a:r>
              <a:rPr lang="en-GB"/>
              <a:t>Add spatial sound</a:t>
            </a:r>
          </a:p>
          <a:p>
            <a:r>
              <a:rPr lang="en-GB"/>
              <a:t>Target HoloLens and immersive headset</a:t>
            </a:r>
            <a:endParaRPr lang="en-US"/>
          </a:p>
        </p:txBody>
      </p:sp>
      <p:sp>
        <p:nvSpPr>
          <p:cNvPr id="4" name="Text Placeholder 3">
            <a:extLst>
              <a:ext uri="{FF2B5EF4-FFF2-40B4-BE49-F238E27FC236}">
                <a16:creationId xmlns:a16="http://schemas.microsoft.com/office/drawing/2014/main" id="{0D02070F-BA65-4753-AA11-E2E7BC2AB267}"/>
              </a:ext>
            </a:extLst>
          </p:cNvPr>
          <p:cNvSpPr>
            <a:spLocks noGrp="1"/>
          </p:cNvSpPr>
          <p:nvPr>
            <p:ph type="body" sz="quarter" idx="11"/>
          </p:nvPr>
        </p:nvSpPr>
        <p:spPr/>
        <p:txBody>
          <a:bodyPr/>
          <a:lstStyle/>
          <a:p>
            <a:r>
              <a:rPr lang="en-GB"/>
              <a:t>aka.ms/</a:t>
            </a:r>
            <a:r>
              <a:rPr lang="en-GB" err="1"/>
              <a:t>insiderdevtour</a:t>
            </a:r>
            <a:r>
              <a:rPr lang="en-GB"/>
              <a:t>-labs</a:t>
            </a:r>
            <a:endParaRPr lang="en-US"/>
          </a:p>
        </p:txBody>
      </p:sp>
    </p:spTree>
    <p:extLst>
      <p:ext uri="{BB962C8B-B14F-4D97-AF65-F5344CB8AC3E}">
        <p14:creationId xmlns:p14="http://schemas.microsoft.com/office/powerpoint/2010/main" val="105160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84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icrosoft_WMR_Value_Prop_Retail_woSuperHot_wESRB_Disclaimer _1080p29.97_15MB_MP4_ST_-16LKFS">
            <a:hlinkClick r:id="" action="ppaction://media"/>
            <a:extLst>
              <a:ext uri="{FF2B5EF4-FFF2-40B4-BE49-F238E27FC236}">
                <a16:creationId xmlns:a16="http://schemas.microsoft.com/office/drawing/2014/main" id="{1CA7D2A5-2319-46FD-9BC8-FC8A70D9E91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409104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40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3D11F-5627-4036-A15E-FE9C228F5B18}"/>
              </a:ext>
            </a:extLst>
          </p:cNvPr>
          <p:cNvSpPr>
            <a:spLocks noGrp="1"/>
          </p:cNvSpPr>
          <p:nvPr>
            <p:ph type="title"/>
          </p:nvPr>
        </p:nvSpPr>
        <p:spPr/>
        <p:txBody>
          <a:bodyPr/>
          <a:lstStyle/>
          <a:p>
            <a:r>
              <a:rPr lang="en-US"/>
              <a:t>Windows Mixed Reality Headsets</a:t>
            </a:r>
          </a:p>
        </p:txBody>
      </p:sp>
      <p:sp>
        <p:nvSpPr>
          <p:cNvPr id="3" name="Content Placeholder 2">
            <a:extLst>
              <a:ext uri="{FF2B5EF4-FFF2-40B4-BE49-F238E27FC236}">
                <a16:creationId xmlns:a16="http://schemas.microsoft.com/office/drawing/2014/main" id="{F332F5AD-4F35-493A-B105-C4629407D1E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E118440A-8CAC-4223-AA1C-D569F7AA2388}"/>
              </a:ext>
            </a:extLst>
          </p:cNvPr>
          <p:cNvPicPr>
            <a:picLocks noChangeAspect="1"/>
          </p:cNvPicPr>
          <p:nvPr/>
        </p:nvPicPr>
        <p:blipFill>
          <a:blip r:embed="rId3">
            <a:extLst/>
          </a:blip>
          <a:stretch>
            <a:fillRect/>
          </a:stretch>
        </p:blipFill>
        <p:spPr>
          <a:xfrm>
            <a:off x="347869" y="2118829"/>
            <a:ext cx="11428157" cy="2620342"/>
          </a:xfrm>
          <a:prstGeom prst="rect">
            <a:avLst/>
          </a:prstGeom>
        </p:spPr>
      </p:pic>
    </p:spTree>
    <p:extLst>
      <p:ext uri="{BB962C8B-B14F-4D97-AF65-F5344CB8AC3E}">
        <p14:creationId xmlns:p14="http://schemas.microsoft.com/office/powerpoint/2010/main" val="196277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3568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7C3F2-C14C-4ED6-9CD7-61E6E8D412D1}"/>
              </a:ext>
            </a:extLst>
          </p:cNvPr>
          <p:cNvSpPr>
            <a:spLocks noGrp="1"/>
          </p:cNvSpPr>
          <p:nvPr>
            <p:ph type="title"/>
          </p:nvPr>
        </p:nvSpPr>
        <p:spPr>
          <a:xfrm>
            <a:off x="336000" y="2895600"/>
            <a:ext cx="11520000" cy="944999"/>
          </a:xfrm>
        </p:spPr>
        <p:txBody>
          <a:bodyPr>
            <a:normAutofit/>
          </a:bodyPr>
          <a:lstStyle/>
          <a:p>
            <a:r>
              <a:rPr lang="en-US">
                <a:solidFill>
                  <a:srgbClr val="F2F2F2"/>
                </a:solidFill>
              </a:rPr>
              <a:t>Building your first Mixed Reality App</a:t>
            </a:r>
          </a:p>
        </p:txBody>
      </p:sp>
    </p:spTree>
    <p:extLst>
      <p:ext uri="{BB962C8B-B14F-4D97-AF65-F5344CB8AC3E}">
        <p14:creationId xmlns:p14="http://schemas.microsoft.com/office/powerpoint/2010/main" val="299856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D0D5-8A8E-4C40-8CFA-9878386303AA}"/>
              </a:ext>
            </a:extLst>
          </p:cNvPr>
          <p:cNvSpPr>
            <a:spLocks noGrp="1"/>
          </p:cNvSpPr>
          <p:nvPr>
            <p:ph type="title"/>
          </p:nvPr>
        </p:nvSpPr>
        <p:spPr/>
        <p:txBody>
          <a:bodyPr/>
          <a:lstStyle/>
          <a:p>
            <a:r>
              <a:rPr lang="en-US"/>
              <a:t>Software for today’s session… </a:t>
            </a:r>
          </a:p>
        </p:txBody>
      </p:sp>
      <p:pic>
        <p:nvPicPr>
          <p:cNvPr id="8" name="Content Placeholder 7">
            <a:extLst>
              <a:ext uri="{FF2B5EF4-FFF2-40B4-BE49-F238E27FC236}">
                <a16:creationId xmlns:a16="http://schemas.microsoft.com/office/drawing/2014/main" id="{0DC1C065-C1AA-4946-B646-75E0CB10D0C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483993" y="2552116"/>
            <a:ext cx="2840711" cy="1029284"/>
          </a:xfrm>
        </p:spPr>
      </p:pic>
      <p:pic>
        <p:nvPicPr>
          <p:cNvPr id="10" name="Picture 9">
            <a:extLst>
              <a:ext uri="{FF2B5EF4-FFF2-40B4-BE49-F238E27FC236}">
                <a16:creationId xmlns:a16="http://schemas.microsoft.com/office/drawing/2014/main" id="{2C5CA594-BD9F-4830-8F77-6115BFACBBAE}"/>
              </a:ext>
            </a:extLst>
          </p:cNvPr>
          <p:cNvPicPr>
            <a:picLocks noChangeAspect="1"/>
          </p:cNvPicPr>
          <p:nvPr/>
        </p:nvPicPr>
        <p:blipFill rotWithShape="1">
          <a:blip r:embed="rId4">
            <a:extLst>
              <a:ext uri="{28A0092B-C50C-407E-A947-70E740481C1C}">
                <a14:useLocalDpi xmlns:a14="http://schemas.microsoft.com/office/drawing/2010/main" val="0"/>
              </a:ext>
            </a:extLst>
          </a:blip>
          <a:srcRect t="14466" b="13202"/>
          <a:stretch/>
        </p:blipFill>
        <p:spPr>
          <a:xfrm>
            <a:off x="949833" y="2876258"/>
            <a:ext cx="1714500" cy="1905000"/>
          </a:xfrm>
          <a:prstGeom prst="rect">
            <a:avLst/>
          </a:prstGeom>
        </p:spPr>
      </p:pic>
      <p:pic>
        <p:nvPicPr>
          <p:cNvPr id="12" name="Picture 11">
            <a:extLst>
              <a:ext uri="{FF2B5EF4-FFF2-40B4-BE49-F238E27FC236}">
                <a16:creationId xmlns:a16="http://schemas.microsoft.com/office/drawing/2014/main" id="{BD91370E-87E7-41B0-AF4B-BCB6048ABA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59445" y="4191000"/>
            <a:ext cx="2913419" cy="1447800"/>
          </a:xfrm>
          <a:prstGeom prst="rect">
            <a:avLst/>
          </a:prstGeom>
        </p:spPr>
      </p:pic>
      <p:pic>
        <p:nvPicPr>
          <p:cNvPr id="13" name="Picture 12">
            <a:extLst>
              <a:ext uri="{FF2B5EF4-FFF2-40B4-BE49-F238E27FC236}">
                <a16:creationId xmlns:a16="http://schemas.microsoft.com/office/drawing/2014/main" id="{B6E6890D-7BBE-46F2-B0CF-73461CE218B0}"/>
              </a:ext>
            </a:extLst>
          </p:cNvPr>
          <p:cNvPicPr>
            <a:picLocks noChangeAspect="1"/>
          </p:cNvPicPr>
          <p:nvPr/>
        </p:nvPicPr>
        <p:blipFill>
          <a:blip r:embed="rId6"/>
          <a:stretch>
            <a:fillRect/>
          </a:stretch>
        </p:blipFill>
        <p:spPr>
          <a:xfrm>
            <a:off x="9003362" y="3146530"/>
            <a:ext cx="2997745" cy="1364456"/>
          </a:xfrm>
          <a:prstGeom prst="rect">
            <a:avLst/>
          </a:prstGeom>
        </p:spPr>
      </p:pic>
      <p:sp>
        <p:nvSpPr>
          <p:cNvPr id="4" name="Cross 3">
            <a:extLst>
              <a:ext uri="{FF2B5EF4-FFF2-40B4-BE49-F238E27FC236}">
                <a16:creationId xmlns:a16="http://schemas.microsoft.com/office/drawing/2014/main" id="{BEAACB9A-8987-41E9-B440-690FD7689D7E}"/>
              </a:ext>
            </a:extLst>
          </p:cNvPr>
          <p:cNvSpPr/>
          <p:nvPr/>
        </p:nvSpPr>
        <p:spPr>
          <a:xfrm>
            <a:off x="3156333" y="3356259"/>
            <a:ext cx="944999" cy="944999"/>
          </a:xfrm>
          <a:prstGeom prst="plus">
            <a:avLst>
              <a:gd name="adj" fmla="val 38638"/>
            </a:avLst>
          </a:prstGeom>
          <a:solidFill>
            <a:srgbClr val="235689"/>
          </a:solidFill>
          <a:ln>
            <a:solidFill>
              <a:schemeClr val="bg1">
                <a:lumMod val="9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9" name="Cross 8">
            <a:extLst>
              <a:ext uri="{FF2B5EF4-FFF2-40B4-BE49-F238E27FC236}">
                <a16:creationId xmlns:a16="http://schemas.microsoft.com/office/drawing/2014/main" id="{44C4AB21-C072-442C-A6AC-A0BFE1E91581}"/>
              </a:ext>
            </a:extLst>
          </p:cNvPr>
          <p:cNvSpPr/>
          <p:nvPr/>
        </p:nvSpPr>
        <p:spPr>
          <a:xfrm>
            <a:off x="7691556" y="3356259"/>
            <a:ext cx="944999" cy="944999"/>
          </a:xfrm>
          <a:prstGeom prst="plus">
            <a:avLst>
              <a:gd name="adj" fmla="val 38638"/>
            </a:avLst>
          </a:prstGeom>
          <a:solidFill>
            <a:srgbClr val="235689"/>
          </a:solidFill>
          <a:ln>
            <a:solidFill>
              <a:schemeClr val="bg1">
                <a:lumMod val="9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154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35066-9CA7-465F-BC69-3C3109F38121}"/>
              </a:ext>
            </a:extLst>
          </p:cNvPr>
          <p:cNvSpPr>
            <a:spLocks noGrp="1"/>
          </p:cNvSpPr>
          <p:nvPr>
            <p:ph type="title"/>
          </p:nvPr>
        </p:nvSpPr>
        <p:spPr>
          <a:xfrm>
            <a:off x="301494" y="381000"/>
            <a:ext cx="6174202" cy="499841"/>
          </a:xfrm>
        </p:spPr>
        <p:txBody>
          <a:bodyPr>
            <a:normAutofit fontScale="90000"/>
          </a:bodyPr>
          <a:lstStyle/>
          <a:p>
            <a:r>
              <a:rPr lang="en-US"/>
              <a:t>Emulators</a:t>
            </a:r>
          </a:p>
        </p:txBody>
      </p:sp>
      <p:pic>
        <p:nvPicPr>
          <p:cNvPr id="5" name="Content Placeholder 4" descr="A screenshot of a computer&#10;&#10;Description generated with very high confidence">
            <a:extLst>
              <a:ext uri="{FF2B5EF4-FFF2-40B4-BE49-F238E27FC236}">
                <a16:creationId xmlns:a16="http://schemas.microsoft.com/office/drawing/2014/main" id="{B3C5285F-65C0-4F0B-ACF5-FECB7DC66EF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3478" y="2018180"/>
            <a:ext cx="5548631" cy="3302000"/>
          </a:xfrm>
        </p:spPr>
      </p:pic>
      <p:pic>
        <p:nvPicPr>
          <p:cNvPr id="2050" name="Picture 2" descr="HoloLens emulator main window">
            <a:extLst>
              <a:ext uri="{FF2B5EF4-FFF2-40B4-BE49-F238E27FC236}">
                <a16:creationId xmlns:a16="http://schemas.microsoft.com/office/drawing/2014/main" id="{A4979EFD-A15B-46DE-A2D9-E87A4D9E2C10}"/>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29400" y="2018180"/>
            <a:ext cx="5459129" cy="339202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88851AD-0287-4099-8254-BF5482B39A78}"/>
              </a:ext>
            </a:extLst>
          </p:cNvPr>
          <p:cNvSpPr txBox="1"/>
          <p:nvPr/>
        </p:nvSpPr>
        <p:spPr>
          <a:xfrm>
            <a:off x="1524000" y="5638800"/>
            <a:ext cx="3199402" cy="369332"/>
          </a:xfrm>
          <a:prstGeom prst="rect">
            <a:avLst/>
          </a:prstGeom>
          <a:noFill/>
        </p:spPr>
        <p:txBody>
          <a:bodyPr wrap="none" rtlCol="0">
            <a:spAutoFit/>
          </a:bodyPr>
          <a:lstStyle/>
          <a:p>
            <a:r>
              <a:rPr lang="en-US">
                <a:solidFill>
                  <a:srgbClr val="235689"/>
                </a:solidFill>
              </a:rPr>
              <a:t>Windows Mixed Reality Portal</a:t>
            </a:r>
          </a:p>
        </p:txBody>
      </p:sp>
      <p:sp>
        <p:nvSpPr>
          <p:cNvPr id="9" name="TextBox 8">
            <a:extLst>
              <a:ext uri="{FF2B5EF4-FFF2-40B4-BE49-F238E27FC236}">
                <a16:creationId xmlns:a16="http://schemas.microsoft.com/office/drawing/2014/main" id="{EF8C9183-4923-4708-9B9F-BBEB66BE6BBF}"/>
              </a:ext>
            </a:extLst>
          </p:cNvPr>
          <p:cNvSpPr txBox="1"/>
          <p:nvPr/>
        </p:nvSpPr>
        <p:spPr>
          <a:xfrm>
            <a:off x="8333779" y="5666117"/>
            <a:ext cx="2050369" cy="369332"/>
          </a:xfrm>
          <a:prstGeom prst="rect">
            <a:avLst/>
          </a:prstGeom>
          <a:noFill/>
        </p:spPr>
        <p:txBody>
          <a:bodyPr wrap="none" rtlCol="0">
            <a:spAutoFit/>
          </a:bodyPr>
          <a:lstStyle/>
          <a:p>
            <a:r>
              <a:rPr lang="en-US">
                <a:solidFill>
                  <a:srgbClr val="235689"/>
                </a:solidFill>
              </a:rPr>
              <a:t>Hololens Emulator</a:t>
            </a:r>
          </a:p>
        </p:txBody>
      </p:sp>
      <p:sp>
        <p:nvSpPr>
          <p:cNvPr id="7" name="TextBox 6">
            <a:extLst>
              <a:ext uri="{FF2B5EF4-FFF2-40B4-BE49-F238E27FC236}">
                <a16:creationId xmlns:a16="http://schemas.microsoft.com/office/drawing/2014/main" id="{C5EAC8E5-E2D3-469C-B506-8ACA7846D7C4}"/>
              </a:ext>
            </a:extLst>
          </p:cNvPr>
          <p:cNvSpPr txBox="1"/>
          <p:nvPr/>
        </p:nvSpPr>
        <p:spPr>
          <a:xfrm>
            <a:off x="1524000" y="6440266"/>
            <a:ext cx="9067800" cy="369332"/>
          </a:xfrm>
          <a:prstGeom prst="rect">
            <a:avLst/>
          </a:prstGeom>
          <a:noFill/>
        </p:spPr>
        <p:txBody>
          <a:bodyPr wrap="square" rtlCol="0">
            <a:spAutoFit/>
          </a:bodyPr>
          <a:lstStyle/>
          <a:p>
            <a:r>
              <a:rPr lang="en-US">
                <a:solidFill>
                  <a:srgbClr val="235689"/>
                </a:solidFill>
                <a:hlinkClick r:id="rId5"/>
              </a:rPr>
              <a:t>https://aka.ms/iwantmr</a:t>
            </a:r>
            <a:r>
              <a:rPr lang="en-US">
                <a:solidFill>
                  <a:srgbClr val="235689"/>
                </a:solidFill>
              </a:rPr>
              <a:t> to nominate an idea/app to port and get an immersive headset </a:t>
            </a:r>
          </a:p>
        </p:txBody>
      </p:sp>
    </p:spTree>
    <p:extLst>
      <p:ext uri="{BB962C8B-B14F-4D97-AF65-F5344CB8AC3E}">
        <p14:creationId xmlns:p14="http://schemas.microsoft.com/office/powerpoint/2010/main" val="413276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ing blocks... </a:t>
            </a:r>
          </a:p>
        </p:txBody>
      </p:sp>
      <p:grpSp>
        <p:nvGrpSpPr>
          <p:cNvPr id="36" name="Group 35">
            <a:extLst>
              <a:ext uri="{FF2B5EF4-FFF2-40B4-BE49-F238E27FC236}">
                <a16:creationId xmlns:a16="http://schemas.microsoft.com/office/drawing/2014/main" id="{79DF81F5-F3EB-4E8F-8AD6-CC246E57AED3}"/>
              </a:ext>
            </a:extLst>
          </p:cNvPr>
          <p:cNvGrpSpPr/>
          <p:nvPr/>
        </p:nvGrpSpPr>
        <p:grpSpPr>
          <a:xfrm>
            <a:off x="3366600" y="3962398"/>
            <a:ext cx="8305800" cy="1828801"/>
            <a:chOff x="1905000" y="3733800"/>
            <a:chExt cx="8305800" cy="1828801"/>
          </a:xfrm>
        </p:grpSpPr>
        <p:grpSp>
          <p:nvGrpSpPr>
            <p:cNvPr id="33" name="Group 32">
              <a:extLst>
                <a:ext uri="{FF2B5EF4-FFF2-40B4-BE49-F238E27FC236}">
                  <a16:creationId xmlns:a16="http://schemas.microsoft.com/office/drawing/2014/main" id="{054F8D81-D1BD-496A-9C2F-06423A636C88}"/>
                </a:ext>
              </a:extLst>
            </p:cNvPr>
            <p:cNvGrpSpPr/>
            <p:nvPr/>
          </p:nvGrpSpPr>
          <p:grpSpPr>
            <a:xfrm>
              <a:off x="7696200" y="3733800"/>
              <a:ext cx="2514600" cy="1828800"/>
              <a:chOff x="7315200" y="4343400"/>
              <a:chExt cx="2514600" cy="1828800"/>
            </a:xfrm>
          </p:grpSpPr>
          <p:sp>
            <p:nvSpPr>
              <p:cNvPr id="6" name="Rectangle 5"/>
              <p:cNvSpPr/>
              <p:nvPr/>
            </p:nvSpPr>
            <p:spPr bwMode="auto">
              <a:xfrm>
                <a:off x="7315200" y="43434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Spatial sound</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b="3234"/>
              <a:stretch/>
            </p:blipFill>
            <p:spPr>
              <a:xfrm>
                <a:off x="7315200" y="4800599"/>
                <a:ext cx="2514600" cy="1371601"/>
              </a:xfrm>
              <a:prstGeom prst="rect">
                <a:avLst/>
              </a:prstGeom>
            </p:spPr>
          </p:pic>
        </p:grpSp>
        <p:grpSp>
          <p:nvGrpSpPr>
            <p:cNvPr id="34" name="Group 33">
              <a:extLst>
                <a:ext uri="{FF2B5EF4-FFF2-40B4-BE49-F238E27FC236}">
                  <a16:creationId xmlns:a16="http://schemas.microsoft.com/office/drawing/2014/main" id="{995DAFCE-A45E-44AD-A8C0-2B6CE77229C8}"/>
                </a:ext>
              </a:extLst>
            </p:cNvPr>
            <p:cNvGrpSpPr/>
            <p:nvPr/>
          </p:nvGrpSpPr>
          <p:grpSpPr>
            <a:xfrm>
              <a:off x="1905000" y="3733800"/>
              <a:ext cx="2514600" cy="1828801"/>
              <a:chOff x="1752600" y="4343400"/>
              <a:chExt cx="2514600" cy="1828801"/>
            </a:xfrm>
          </p:grpSpPr>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r="21353" b="8484"/>
              <a:stretch/>
            </p:blipFill>
            <p:spPr>
              <a:xfrm>
                <a:off x="1752600" y="4800601"/>
                <a:ext cx="2514600" cy="1371600"/>
              </a:xfrm>
              <a:prstGeom prst="rect">
                <a:avLst/>
              </a:prstGeom>
            </p:spPr>
          </p:pic>
          <p:sp>
            <p:nvSpPr>
              <p:cNvPr id="14" name="Rectangle 13"/>
              <p:cNvSpPr/>
              <p:nvPr/>
            </p:nvSpPr>
            <p:spPr bwMode="auto">
              <a:xfrm>
                <a:off x="1752600" y="43434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Spatial mapping</a:t>
                </a:r>
              </a:p>
            </p:txBody>
          </p:sp>
        </p:grpSp>
      </p:grpSp>
      <p:grpSp>
        <p:nvGrpSpPr>
          <p:cNvPr id="28" name="Group 27">
            <a:extLst>
              <a:ext uri="{FF2B5EF4-FFF2-40B4-BE49-F238E27FC236}">
                <a16:creationId xmlns:a16="http://schemas.microsoft.com/office/drawing/2014/main" id="{08C55AAD-13A9-409D-AEBC-C23B4DC3D068}"/>
              </a:ext>
            </a:extLst>
          </p:cNvPr>
          <p:cNvGrpSpPr/>
          <p:nvPr/>
        </p:nvGrpSpPr>
        <p:grpSpPr>
          <a:xfrm>
            <a:off x="3366600" y="1722684"/>
            <a:ext cx="2514600" cy="1828800"/>
            <a:chOff x="3581400" y="1400420"/>
            <a:chExt cx="2514600" cy="1828800"/>
          </a:xfrm>
        </p:grpSpPr>
        <p:sp>
          <p:nvSpPr>
            <p:cNvPr id="25" name="Rectangle 24">
              <a:extLst>
                <a:ext uri="{FF2B5EF4-FFF2-40B4-BE49-F238E27FC236}">
                  <a16:creationId xmlns:a16="http://schemas.microsoft.com/office/drawing/2014/main" id="{157AF77C-4F83-40E3-BD6E-74B9BF03AE0C}"/>
                </a:ext>
              </a:extLst>
            </p:cNvPr>
            <p:cNvSpPr/>
            <p:nvPr/>
          </p:nvSpPr>
          <p:spPr>
            <a:xfrm>
              <a:off x="3581400" y="1857620"/>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bwMode="auto">
            <a:xfrm>
              <a:off x="3581400" y="140042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Gaze</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34131" y="1857620"/>
              <a:ext cx="1609139" cy="1371600"/>
            </a:xfrm>
            <a:prstGeom prst="rect">
              <a:avLst/>
            </a:prstGeom>
          </p:spPr>
        </p:pic>
      </p:grpSp>
      <p:grpSp>
        <p:nvGrpSpPr>
          <p:cNvPr id="29" name="Group 28">
            <a:extLst>
              <a:ext uri="{FF2B5EF4-FFF2-40B4-BE49-F238E27FC236}">
                <a16:creationId xmlns:a16="http://schemas.microsoft.com/office/drawing/2014/main" id="{7736570B-3CFA-4E73-B2FC-2E83593CB0E0}"/>
              </a:ext>
            </a:extLst>
          </p:cNvPr>
          <p:cNvGrpSpPr/>
          <p:nvPr/>
        </p:nvGrpSpPr>
        <p:grpSpPr>
          <a:xfrm>
            <a:off x="471000" y="3962397"/>
            <a:ext cx="2514600" cy="1828801"/>
            <a:chOff x="533400" y="3610216"/>
            <a:chExt cx="2514600" cy="1828801"/>
          </a:xfrm>
        </p:grpSpPr>
        <p:sp>
          <p:nvSpPr>
            <p:cNvPr id="26" name="Rectangle 25">
              <a:extLst>
                <a:ext uri="{FF2B5EF4-FFF2-40B4-BE49-F238E27FC236}">
                  <a16:creationId xmlns:a16="http://schemas.microsoft.com/office/drawing/2014/main" id="{C1299C86-F784-4585-8FB0-A0EA33F0BA95}"/>
                </a:ext>
              </a:extLst>
            </p:cNvPr>
            <p:cNvSpPr/>
            <p:nvPr/>
          </p:nvSpPr>
          <p:spPr>
            <a:xfrm>
              <a:off x="533400" y="4067416"/>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bwMode="auto">
            <a:xfrm>
              <a:off x="533400" y="3610216"/>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Gesture</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6131" y="4067417"/>
              <a:ext cx="1609139" cy="1371600"/>
            </a:xfrm>
            <a:prstGeom prst="rect">
              <a:avLst/>
            </a:prstGeom>
          </p:spPr>
        </p:pic>
      </p:grpSp>
      <p:grpSp>
        <p:nvGrpSpPr>
          <p:cNvPr id="30" name="Group 29">
            <a:extLst>
              <a:ext uri="{FF2B5EF4-FFF2-40B4-BE49-F238E27FC236}">
                <a16:creationId xmlns:a16="http://schemas.microsoft.com/office/drawing/2014/main" id="{3A402471-B0B3-41B1-AD61-EBF16E6150A4}"/>
              </a:ext>
            </a:extLst>
          </p:cNvPr>
          <p:cNvGrpSpPr/>
          <p:nvPr/>
        </p:nvGrpSpPr>
        <p:grpSpPr>
          <a:xfrm>
            <a:off x="6262200" y="3962398"/>
            <a:ext cx="2514600" cy="1828801"/>
            <a:chOff x="6172200" y="1371600"/>
            <a:chExt cx="2514600" cy="1828801"/>
          </a:xfrm>
        </p:grpSpPr>
        <p:sp>
          <p:nvSpPr>
            <p:cNvPr id="27" name="Rectangle 26">
              <a:extLst>
                <a:ext uri="{FF2B5EF4-FFF2-40B4-BE49-F238E27FC236}">
                  <a16:creationId xmlns:a16="http://schemas.microsoft.com/office/drawing/2014/main" id="{4FA6AC75-7AAB-4FBA-94AE-A699402228CD}"/>
                </a:ext>
              </a:extLst>
            </p:cNvPr>
            <p:cNvSpPr/>
            <p:nvPr/>
          </p:nvSpPr>
          <p:spPr>
            <a:xfrm>
              <a:off x="6172200" y="1828800"/>
              <a:ext cx="2514600" cy="1371600"/>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6172200" y="1371600"/>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Voice com</a:t>
              </a:r>
              <a:r>
                <a:rPr lang="en-US" sz="1799" b="1">
                  <a:solidFill>
                    <a:srgbClr val="F2F2F2"/>
                  </a:solidFill>
                  <a:latin typeface="+mj-lt"/>
                </a:rPr>
                <a:t>mands</a:t>
              </a:r>
              <a:endParaRPr lang="en-US" sz="1799" b="1">
                <a:solidFill>
                  <a:srgbClr val="F2F2F2"/>
                </a:solidFill>
                <a:latin typeface="+mj-lt"/>
                <a:ea typeface="Segoe UI" pitchFamily="34" charset="0"/>
                <a:cs typeface="Segoe UI"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4931" y="1828801"/>
              <a:ext cx="1609139" cy="1371600"/>
            </a:xfrm>
            <a:prstGeom prst="rect">
              <a:avLst/>
            </a:prstGeom>
          </p:spPr>
        </p:pic>
      </p:grpSp>
      <p:grpSp>
        <p:nvGrpSpPr>
          <p:cNvPr id="31" name="Group 30">
            <a:extLst>
              <a:ext uri="{FF2B5EF4-FFF2-40B4-BE49-F238E27FC236}">
                <a16:creationId xmlns:a16="http://schemas.microsoft.com/office/drawing/2014/main" id="{EC7053B6-268D-41B2-BE1F-028C32274E13}"/>
              </a:ext>
            </a:extLst>
          </p:cNvPr>
          <p:cNvGrpSpPr/>
          <p:nvPr/>
        </p:nvGrpSpPr>
        <p:grpSpPr>
          <a:xfrm>
            <a:off x="6262200" y="1722684"/>
            <a:ext cx="2514600" cy="1828802"/>
            <a:chOff x="6019800" y="1370502"/>
            <a:chExt cx="2514600" cy="1828802"/>
          </a:xfrm>
        </p:grpSpPr>
        <p:pic>
          <p:nvPicPr>
            <p:cNvPr id="24" name="Picture 23">
              <a:extLst>
                <a:ext uri="{FF2B5EF4-FFF2-40B4-BE49-F238E27FC236}">
                  <a16:creationId xmlns:a16="http://schemas.microsoft.com/office/drawing/2014/main" id="{91A253B5-F30E-4953-BBB3-B238EC644A0C}"/>
                </a:ext>
              </a:extLst>
            </p:cNvPr>
            <p:cNvPicPr>
              <a:picLocks noChangeAspect="1"/>
            </p:cNvPicPr>
            <p:nvPr/>
          </p:nvPicPr>
          <p:blipFill rotWithShape="1">
            <a:blip r:embed="rId8"/>
            <a:srcRect t="-2904" b="41940"/>
            <a:stretch/>
          </p:blipFill>
          <p:spPr>
            <a:xfrm>
              <a:off x="6019800" y="1599104"/>
              <a:ext cx="2514600" cy="1600200"/>
            </a:xfrm>
            <a:prstGeom prst="rect">
              <a:avLst/>
            </a:prstGeom>
          </p:spPr>
        </p:pic>
        <p:sp>
          <p:nvSpPr>
            <p:cNvPr id="22" name="Rectangle 21">
              <a:extLst>
                <a:ext uri="{FF2B5EF4-FFF2-40B4-BE49-F238E27FC236}">
                  <a16:creationId xmlns:a16="http://schemas.microsoft.com/office/drawing/2014/main" id="{85082664-89C6-4E00-A482-FE2BB99EF509}"/>
                </a:ext>
              </a:extLst>
            </p:cNvPr>
            <p:cNvSpPr/>
            <p:nvPr/>
          </p:nvSpPr>
          <p:spPr bwMode="auto">
            <a:xfrm>
              <a:off x="6019800" y="1370502"/>
              <a:ext cx="2514600" cy="458297"/>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Controllers</a:t>
              </a:r>
            </a:p>
          </p:txBody>
        </p:sp>
      </p:grpSp>
      <p:sp>
        <p:nvSpPr>
          <p:cNvPr id="35" name="Rectangle 34">
            <a:extLst>
              <a:ext uri="{FF2B5EF4-FFF2-40B4-BE49-F238E27FC236}">
                <a16:creationId xmlns:a16="http://schemas.microsoft.com/office/drawing/2014/main" id="{5B9358B2-7E4E-4BD2-9411-73DF0339D8B7}"/>
              </a:ext>
            </a:extLst>
          </p:cNvPr>
          <p:cNvSpPr/>
          <p:nvPr/>
        </p:nvSpPr>
        <p:spPr bwMode="auto">
          <a:xfrm>
            <a:off x="471000" y="1722684"/>
            <a:ext cx="2514600" cy="457200"/>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1799" b="1">
                <a:solidFill>
                  <a:srgbClr val="F2F2F2"/>
                </a:solidFill>
                <a:latin typeface="+mj-lt"/>
                <a:ea typeface="Segoe UI" pitchFamily="34" charset="0"/>
                <a:cs typeface="Segoe UI" pitchFamily="34" charset="0"/>
              </a:rPr>
              <a:t>World coordinates</a:t>
            </a:r>
          </a:p>
        </p:txBody>
      </p:sp>
      <p:pic>
        <p:nvPicPr>
          <p:cNvPr id="38" name="Picture 37">
            <a:extLst>
              <a:ext uri="{FF2B5EF4-FFF2-40B4-BE49-F238E27FC236}">
                <a16:creationId xmlns:a16="http://schemas.microsoft.com/office/drawing/2014/main" id="{E8F3BED8-249B-48D7-ACCD-8739C3649AF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6994"/>
          <a:stretch/>
        </p:blipFill>
        <p:spPr>
          <a:xfrm>
            <a:off x="471000" y="2179884"/>
            <a:ext cx="2514600" cy="1371600"/>
          </a:xfrm>
          <a:prstGeom prst="rect">
            <a:avLst/>
          </a:prstGeom>
        </p:spPr>
      </p:pic>
    </p:spTree>
    <p:extLst>
      <p:ext uri="{BB962C8B-B14F-4D97-AF65-F5344CB8AC3E}">
        <p14:creationId xmlns:p14="http://schemas.microsoft.com/office/powerpoint/2010/main" val="414761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324001"/>
            <a:ext cx="5760000" cy="1352399"/>
          </a:xfrm>
        </p:spPr>
        <p:txBody>
          <a:bodyPr>
            <a:normAutofit/>
          </a:bodyPr>
          <a:lstStyle/>
          <a:p>
            <a:r>
              <a:rPr lang="en-US"/>
              <a:t>3D and Spatial Coordinates</a:t>
            </a:r>
          </a:p>
        </p:txBody>
      </p:sp>
      <p:sp>
        <p:nvSpPr>
          <p:cNvPr id="15" name="Content Placeholder 14">
            <a:extLst>
              <a:ext uri="{FF2B5EF4-FFF2-40B4-BE49-F238E27FC236}">
                <a16:creationId xmlns:a16="http://schemas.microsoft.com/office/drawing/2014/main" id="{E097D7E3-055F-4FBD-AC3B-EF1139A1E8D0}"/>
              </a:ext>
            </a:extLst>
          </p:cNvPr>
          <p:cNvSpPr>
            <a:spLocks noGrp="1"/>
          </p:cNvSpPr>
          <p:nvPr>
            <p:ph sz="half" idx="1"/>
          </p:nvPr>
        </p:nvSpPr>
        <p:spPr>
          <a:xfrm>
            <a:off x="336000" y="2362200"/>
            <a:ext cx="5625000" cy="4216800"/>
          </a:xfrm>
        </p:spPr>
        <p:txBody>
          <a:bodyPr>
            <a:normAutofit/>
          </a:bodyPr>
          <a:lstStyle/>
          <a:p>
            <a:r>
              <a:rPr lang="en-US" sz="2400">
                <a:solidFill>
                  <a:srgbClr val="505050">
                    <a:alpha val="99000"/>
                  </a:srgbClr>
                </a:solidFill>
              </a:rPr>
              <a:t>Precisely positioning and orienting the user in the right place, relative to the other objects elements within the scene. </a:t>
            </a:r>
          </a:p>
          <a:p>
            <a:endParaRPr lang="en-US" sz="2400"/>
          </a:p>
        </p:txBody>
      </p:sp>
      <p:sp>
        <p:nvSpPr>
          <p:cNvPr id="6" name="Rectangle 5"/>
          <p:cNvSpPr/>
          <p:nvPr/>
        </p:nvSpPr>
        <p:spPr>
          <a:xfrm>
            <a:off x="431294" y="1624267"/>
            <a:ext cx="5950313" cy="3136392"/>
          </a:xfrm>
          <a:prstGeom prst="rect">
            <a:avLst/>
          </a:prstGeom>
          <a:noFill/>
        </p:spPr>
        <p:txBody>
          <a:bodyPr vert="horz" wrap="square" lIns="0" tIns="45720" rIns="0" bIns="45720" rtlCol="0" anchor="ctr">
            <a:noAutofit/>
          </a:bodyPr>
          <a:lstStyle/>
          <a:p>
            <a:pPr>
              <a:lnSpc>
                <a:spcPct val="150000"/>
              </a:lnSpc>
              <a:spcAft>
                <a:spcPts val="600"/>
              </a:spcAft>
              <a:buSzPct val="90000"/>
            </a:pPr>
            <a:endParaRPr lang="en-US" sz="2800">
              <a:solidFill>
                <a:srgbClr val="505050">
                  <a:alpha val="99000"/>
                </a:srgbClr>
              </a:solidFill>
            </a:endParaRPr>
          </a:p>
        </p:txBody>
      </p:sp>
      <p:sp>
        <p:nvSpPr>
          <p:cNvPr id="29" name="Rectangle 28">
            <a:extLst>
              <a:ext uri="{FF2B5EF4-FFF2-40B4-BE49-F238E27FC236}">
                <a16:creationId xmlns:a16="http://schemas.microsoft.com/office/drawing/2014/main" id="{4BB0D170-A5DC-4395-B092-BDFD4CDA60AE}"/>
              </a:ext>
            </a:extLst>
          </p:cNvPr>
          <p:cNvSpPr/>
          <p:nvPr/>
        </p:nvSpPr>
        <p:spPr>
          <a:xfrm>
            <a:off x="6096000" y="0"/>
            <a:ext cx="609600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ube 29">
            <a:extLst>
              <a:ext uri="{FF2B5EF4-FFF2-40B4-BE49-F238E27FC236}">
                <a16:creationId xmlns:a16="http://schemas.microsoft.com/office/drawing/2014/main" id="{99616BFE-0ECF-4696-89CE-B0CA908A5FBD}"/>
              </a:ext>
            </a:extLst>
          </p:cNvPr>
          <p:cNvSpPr/>
          <p:nvPr/>
        </p:nvSpPr>
        <p:spPr>
          <a:xfrm>
            <a:off x="8217776" y="3243755"/>
            <a:ext cx="1111469" cy="1111469"/>
          </a:xfrm>
          <a:prstGeom prst="cube">
            <a:avLst>
              <a:gd name="adj" fmla="val 34040"/>
            </a:avLst>
          </a:prstGeom>
          <a:noFill/>
          <a:ln w="57150" cap="rnd">
            <a:solidFill>
              <a:schemeClr val="bg1">
                <a:lumMod val="9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Arrow Connector 30">
            <a:extLst>
              <a:ext uri="{FF2B5EF4-FFF2-40B4-BE49-F238E27FC236}">
                <a16:creationId xmlns:a16="http://schemas.microsoft.com/office/drawing/2014/main" id="{22F8D9AD-4385-4A9E-867D-D303F9786CA5}"/>
              </a:ext>
            </a:extLst>
          </p:cNvPr>
          <p:cNvCxnSpPr>
            <a:cxnSpLocks/>
          </p:cNvCxnSpPr>
          <p:nvPr/>
        </p:nvCxnSpPr>
        <p:spPr>
          <a:xfrm flipV="1">
            <a:off x="8588266" y="1638300"/>
            <a:ext cx="0" cy="1605455"/>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1C6585A-55B7-45A0-A62C-674718F45C01}"/>
              </a:ext>
            </a:extLst>
          </p:cNvPr>
          <p:cNvCxnSpPr>
            <a:cxnSpLocks/>
          </p:cNvCxnSpPr>
          <p:nvPr/>
        </p:nvCxnSpPr>
        <p:spPr>
          <a:xfrm>
            <a:off x="9329245" y="3984734"/>
            <a:ext cx="1605455" cy="0"/>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8FDB652-C7D7-4422-BC23-F24B9B6AF704}"/>
              </a:ext>
            </a:extLst>
          </p:cNvPr>
          <p:cNvCxnSpPr>
            <a:cxnSpLocks/>
          </p:cNvCxnSpPr>
          <p:nvPr/>
        </p:nvCxnSpPr>
        <p:spPr>
          <a:xfrm flipH="1">
            <a:off x="7353300" y="4355224"/>
            <a:ext cx="864476" cy="864476"/>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99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8"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left)">
                                      <p:cBhvr>
                                        <p:cTn id="10" dur="500"/>
                                        <p:tgtEl>
                                          <p:spTgt spid="32"/>
                                        </p:tgtEl>
                                      </p:cBhvr>
                                    </p:animEffect>
                                  </p:childTnLst>
                                </p:cTn>
                              </p:par>
                              <p:par>
                                <p:cTn id="11" presetID="22" presetClass="entr" presetSubtype="2"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right)">
                                      <p:cBhvr>
                                        <p:cTn id="1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F17403C9-B31A-4443-89EB-31DB62E2042B}" vid="{B1E0BB34-2938-4203-A6CE-D358F46DFE06}"/>
    </a:ext>
  </a:extLst>
</a:theme>
</file>

<file path=ppt/theme/theme2.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AFA6B6AA-989D-4216-BD62-3AC54CC3246C}" vid="{1CB99B29-D214-44D7-B747-84D684FF3B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D170F48843B4469F4EBAA4989DCF06" ma:contentTypeVersion="10" ma:contentTypeDescription="Create a new document." ma:contentTypeScope="" ma:versionID="2f20f3d5ba0571e0196a57dbb2f3494b">
  <xsd:schema xmlns:xsd="http://www.w3.org/2001/XMLSchema" xmlns:xs="http://www.w3.org/2001/XMLSchema" xmlns:p="http://schemas.microsoft.com/office/2006/metadata/properties" xmlns:ns2="f6ecbb66-529e-4d85-a914-95a490d96b29" xmlns:ns3="c572443e-d5c7-4467-9262-fe356aab5cd9" targetNamespace="http://schemas.microsoft.com/office/2006/metadata/properties" ma:root="true" ma:fieldsID="64b42ee6732b56317aac76118bc80c77" ns2:_="" ns3:_="">
    <xsd:import namespace="f6ecbb66-529e-4d85-a914-95a490d96b29"/>
    <xsd:import namespace="c572443e-d5c7-4467-9262-fe356aab5cd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3:LastSharedByUser" minOccurs="0"/>
                <xsd:element ref="ns3:LastSharedBy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ecbb66-529e-4d85-a914-95a490d96b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72443e-d5c7-4467-9262-fe356aab5cd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6E85A00-B325-4B15-ACFC-DA08141D69E3}">
  <ds:schemaRefs>
    <ds:schemaRef ds:uri="c572443e-d5c7-4467-9262-fe356aab5cd9"/>
    <ds:schemaRef ds:uri="f6ecbb66-529e-4d85-a914-95a490d96b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3BB3965-280B-49D7-AC99-7866BFFFF2DF}">
  <ds:schemaRefs>
    <ds:schemaRef ds:uri="http://schemas.microsoft.com/sharepoint/v3/contenttype/forms"/>
  </ds:schemaRefs>
</ds:datastoreItem>
</file>

<file path=customXml/itemProps3.xml><?xml version="1.0" encoding="utf-8"?>
<ds:datastoreItem xmlns:ds="http://schemas.openxmlformats.org/officeDocument/2006/customXml" ds:itemID="{87A98A17-1F77-41F2-830B-66EC44697005}">
  <ds:schemaRefs>
    <ds:schemaRef ds:uri="c572443e-d5c7-4467-9262-fe356aab5cd9"/>
    <ds:schemaRef ds:uri="f6ecbb66-529e-4d85-a914-95a490d96b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636</Words>
  <Application>Microsoft Office PowerPoint</Application>
  <PresentationFormat>Widescreen</PresentationFormat>
  <Paragraphs>244</Paragraphs>
  <Slides>21</Slides>
  <Notes>21</Notes>
  <HiddenSlides>0</HiddenSlides>
  <MMClips>1</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onsolas</vt:lpstr>
      <vt:lpstr>Segoe UI</vt:lpstr>
      <vt:lpstr>Segoe UI Light</vt:lpstr>
      <vt:lpstr>Segoe UI Semibold</vt:lpstr>
      <vt:lpstr>Segoe UI Semilight</vt:lpstr>
      <vt:lpstr>Wingdings</vt:lpstr>
      <vt:lpstr>Office Theme</vt:lpstr>
      <vt:lpstr>5-50113_Microsoft_Ready_Light_Template</vt:lpstr>
      <vt:lpstr>1_Office Theme</vt:lpstr>
      <vt:lpstr>think-cell Slide</vt:lpstr>
      <vt:lpstr>Build Mixed Reality Apps</vt:lpstr>
      <vt:lpstr>The Era of Mixed Reality </vt:lpstr>
      <vt:lpstr>PowerPoint Presentation</vt:lpstr>
      <vt:lpstr>Windows Mixed Reality Headsets</vt:lpstr>
      <vt:lpstr>Building your first Mixed Reality App</vt:lpstr>
      <vt:lpstr>Software for today’s session… </vt:lpstr>
      <vt:lpstr>Emulators</vt:lpstr>
      <vt:lpstr>Building blocks... </vt:lpstr>
      <vt:lpstr>3D and Spatial Coordinates</vt:lpstr>
      <vt:lpstr>Space Types</vt:lpstr>
      <vt:lpstr>Demo!</vt:lpstr>
      <vt:lpstr>Gaze</vt:lpstr>
      <vt:lpstr>Demo!</vt:lpstr>
      <vt:lpstr>Motion controllers</vt:lpstr>
      <vt:lpstr>UnityEngine.XR.WSA.Input APIs</vt:lpstr>
      <vt:lpstr>Demo!</vt:lpstr>
      <vt:lpstr>Building blocks</vt:lpstr>
      <vt:lpstr>Demo!</vt:lpstr>
      <vt:lpstr>Mixed Reality is transforming industri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Mixed Reality Apps</dc:title>
  <cp:lastModifiedBy>Eric Ahlstrom</cp:lastModifiedBy>
  <cp:revision>3</cp:revision>
  <dcterms:modified xsi:type="dcterms:W3CDTF">2018-07-13T19: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D170F48843B4469F4EBAA4989DCF0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avecraw@microsoft.com</vt:lpwstr>
  </property>
  <property fmtid="{D5CDD505-2E9C-101B-9397-08002B2CF9AE}" pid="6" name="MSIP_Label_f42aa342-8706-4288-bd11-ebb85995028c_SetDate">
    <vt:lpwstr>2018-05-01T01:13:38.23435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